
<file path=[Content_Types].xml><?xml version="1.0" encoding="utf-8"?>
<Types xmlns="http://schemas.openxmlformats.org/package/2006/content-types">
  <Override PartName="/ppt/diagrams/layout8.xml" ContentType="application/vnd.openxmlformats-officedocument.drawingml.diagramLayout+xml"/>
  <Override PartName="/ppt/slides/slide9.xml" ContentType="application/vnd.openxmlformats-officedocument.presentationml.slide+xml"/>
  <Override PartName="/ppt/slideMasters/slideMaster7.xml" ContentType="application/vnd.openxmlformats-officedocument.presentationml.slideMaster+xml"/>
  <Override PartName="/ppt/diagrams/quickStyle6.xml" ContentType="application/vnd.openxmlformats-officedocument.drawingml.diagramStyle+xml"/>
  <Override PartName="/ppt/diagrams/colors2.xml" ContentType="application/vnd.openxmlformats-officedocument.drawingml.diagramColors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Default Extension="vml" ContentType="application/vnd.openxmlformats-officedocument.vmlDrawing"/>
  <Override PartName="/ppt/tags/tag12.xml" ContentType="application/vnd.openxmlformats-officedocument.presentationml.tags+xml"/>
  <Override PartName="/ppt/theme/theme1.xml" ContentType="application/vnd.openxmlformats-officedocument.theme+xml"/>
  <Override PartName="/ppt/slideLayouts/slideLayout15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24.xml" ContentType="application/vnd.openxmlformats-officedocument.presentationml.slideLayout+xml"/>
  <Override PartName="/ppt/tags/tag22.xml" ContentType="application/vnd.openxmlformats-officedocument.presentationml.tags+xml"/>
  <Override PartName="/ppt/diagrams/drawing1.xml" ContentType="application/vnd.ms-office.drawingml.diagramDrawing+xml"/>
  <Override PartName="/ppt/slideLayouts/slideLayout34.xml" ContentType="application/vnd.openxmlformats-officedocument.presentationml.slideLayout+xml"/>
  <Override PartName="/ppt/tags/tag31.xml" ContentType="application/vnd.openxmlformats-officedocument.presentationml.tags+xml"/>
  <Override PartName="/ppt/embeddings/oleObject1.bin" ContentType="application/vnd.openxmlformats-officedocument.oleObject"/>
  <Override PartName="/ppt/diagrams/colors8.xml" ContentType="application/vnd.openxmlformats-officedocument.drawingml.diagramColors+xml"/>
  <Override PartName="/ppt/tags/tag7.xml" ContentType="application/vnd.openxmlformats-officedocument.presentationml.tags+xml"/>
  <Override PartName="/ppt/diagrams/drawing7.xml" ContentType="application/vnd.ms-office.drawingml.diagramDrawing+xml"/>
  <Override PartName="/ppt/tags/tag18.xml" ContentType="application/vnd.openxmlformats-officedocument.presentationml.tags+xml"/>
  <Override PartName="/ppt/theme/theme7.xml" ContentType="application/vnd.openxmlformats-officedocument.theme+xml"/>
  <Default Extension="jpeg" ContentType="image/jpeg"/>
  <Override PartName="/ppt/notesSlides/notesSlide11.xml" ContentType="application/vnd.openxmlformats-officedocument.presentationml.notesSlide+xml"/>
  <Override PartName="/ppt/diagrams/layout3.xml" ContentType="application/vnd.openxmlformats-officedocument.drawingml.diagramLayout+xml"/>
  <Override PartName="/ppt/tags/tag28.xml" ContentType="application/vnd.openxmlformats-officedocument.presentationml.tags+xml"/>
  <Override PartName="/ppt/slides/slide13.xml" ContentType="application/vnd.openxmlformats-officedocument.presentationml.slide+xml"/>
  <Override PartName="/ppt/diagrams/data6.xml" ContentType="application/vnd.openxmlformats-officedocument.drawingml.diagramData+xml"/>
  <Override PartName="/ppt/embeddings/oleObject7.bin" ContentType="application/vnd.openxmlformats-officedocument.oleObject"/>
  <Override PartName="/ppt/slides/slide4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quickStyle1.xml" ContentType="application/vnd.openxmlformats-officedocument.drawingml.diagramStyle+xml"/>
  <Override PartName="/ppt/slideMasters/slideMaster2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Masters/slideMaster8.xml" ContentType="application/vnd.openxmlformats-officedocument.presentationml.slideMaster+xml"/>
  <Override PartName="/ppt/diagrams/quickStyle7.xml" ContentType="application/vnd.openxmlformats-officedocument.drawingml.diagramStyle+xml"/>
  <Override PartName="/ppt/diagrams/colors3.xml" ContentType="application/vnd.openxmlformats-officedocument.drawingml.diagramColor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notesSlides/notesSlide3.xml" ContentType="application/vnd.openxmlformats-officedocument.presentationml.notesSlide+xml"/>
  <Override PartName="/ppt/slideLayouts/slideLayout25.xml" ContentType="application/vnd.openxmlformats-officedocument.presentationml.slideLayout+xml"/>
  <Override PartName="/ppt/tags/tag23.xml" ContentType="application/vnd.openxmlformats-officedocument.presentationml.tags+xml"/>
  <Override PartName="/ppt/diagrams/drawing2.xml" ContentType="application/vnd.ms-office.drawingml.diagramDrawing+xml"/>
  <Default Extension="emf" ContentType="image/x-emf"/>
  <Override PartName="/ppt/embeddings/oleObject2.bin" ContentType="application/vnd.openxmlformats-officedocument.oleObject"/>
  <Override PartName="/ppt/tags/tag32.xml" ContentType="application/vnd.openxmlformats-officedocument.presentationml.tags+xml"/>
  <Override PartName="/ppt/tags/tag8.xml" ContentType="application/vnd.openxmlformats-officedocument.presentationml.tags+xml"/>
  <Override PartName="/ppt/diagrams/drawing8.xml" ContentType="application/vnd.ms-office.drawingml.diagramDrawing+xml"/>
  <Override PartName="/ppt/tags/tag19.xml" ContentType="application/vnd.openxmlformats-officedocument.presentationml.tags+xml"/>
  <Override PartName="/ppt/theme/theme8.xml" ContentType="application/vnd.openxmlformats-officedocument.theme+xml"/>
  <Override PartName="/ppt/notesSlides/notesSlide8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4.xml" ContentType="application/vnd.openxmlformats-officedocument.drawingml.diagramLayout+xml"/>
  <Override PartName="/ppt/tags/tag29.xml" ContentType="application/vnd.openxmlformats-officedocument.presentationml.tags+xml"/>
  <Override PartName="/ppt/slides/slide14.xml" ContentType="application/vnd.openxmlformats-officedocument.presentationml.slide+xml"/>
  <Override PartName="/ppt/diagrams/data7.xml" ContentType="application/vnd.openxmlformats-officedocument.drawingml.diagramData+xml"/>
  <Default Extension="bin" ContentType="application/vnd.openxmlformats-officedocument.presentationml.printerSettings"/>
  <Default Extension="xml" ContentType="application/xml"/>
  <Override PartName="/ppt/slides/slide5.xml" ContentType="application/vnd.openxmlformats-officedocument.presentationml.slide+xml"/>
  <Override PartName="/ppt/slideLayouts/slideLayout6.xml" ContentType="application/vnd.openxmlformats-officedocument.presentationml.slideLayout+xml"/>
  <Override PartName="/ppt/slideMasters/slideMaster3.xml" ContentType="application/vnd.openxmlformats-officedocument.presentationml.slideMaster+xml"/>
  <Override PartName="/ppt/diagrams/quickStyle2.xml" ContentType="application/vnd.openxmlformats-officedocument.drawingml.diagramStyl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app.xml" ContentType="application/vnd.openxmlformats-officedocument.extended-properties+xml"/>
  <Override PartName="/ppt/slideLayouts/slideLayout30.xml" ContentType="application/vnd.openxmlformats-officedocument.presentationml.slideLayout+xml"/>
  <Override PartName="/ppt/diagrams/quickStyle8.xml" ContentType="application/vnd.openxmlformats-officedocument.drawingml.diagramStyle+xml"/>
  <Override PartName="/ppt/diagrams/colors4.xml" ContentType="application/vnd.openxmlformats-officedocument.drawingml.diagramColor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4.xml" ContentType="application/vnd.openxmlformats-officedocument.presentationml.tags+xml"/>
  <Override PartName="/ppt/diagrams/data2.xml" ContentType="application/vnd.openxmlformats-officedocument.drawingml.diagramData+xml"/>
  <Override PartName="/ppt/theme/theme3.xml" ContentType="application/vnd.openxmlformats-officedocument.theme+xml"/>
  <Override PartName="/ppt/notesSlides/notesSlide4.xml" ContentType="application/vnd.openxmlformats-officedocument.presentationml.notesSlide+xml"/>
  <Override PartName="/ppt/slideLayouts/slideLayout26.xml" ContentType="application/vnd.openxmlformats-officedocument.presentationml.slideLayout+xml"/>
  <Override PartName="/ppt/tags/tag24.xml" ContentType="application/vnd.openxmlformats-officedocument.presentationml.tags+xml"/>
  <Override PartName="/ppt/diagrams/drawing3.xml" ContentType="application/vnd.ms-office.drawingml.diagramDrawing+xml"/>
  <Override PartName="/ppt/embeddings/oleObject3.bin" ContentType="application/vnd.openxmlformats-officedocument.oleObject"/>
  <Override PartName="/ppt/tags/tag33.xml" ContentType="application/vnd.openxmlformats-officedocument.presentationml.tags+xml"/>
  <Override PartName="/ppt/tags/tag9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9.xml" ContentType="application/vnd.openxmlformats-officedocument.theme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layout5.xml" ContentType="application/vnd.openxmlformats-officedocument.drawingml.diagramLayout+xml"/>
  <Override PartName="/ppt/diagrams/data8.xml" ContentType="application/vnd.openxmlformats-officedocument.drawingml.diagramData+xml"/>
  <Override PartName="/ppt/slides/slide15.xml" ContentType="application/vnd.openxmlformats-officedocument.presentationml.slide+xml"/>
  <Default Extension="png" ContentType="image/png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Masters/slideMaster4.xml" ContentType="application/vnd.openxmlformats-officedocument.presentationml.slideMaster+xml"/>
  <Override PartName="/ppt/diagrams/quickStyle3.xml" ContentType="application/vnd.openxmlformats-officedocument.drawingml.diagramStyl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colors5.xml" ContentType="application/vnd.openxmlformats-officedocument.drawingml.diagramColor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tags/tag15.xml" ContentType="application/vnd.openxmlformats-officedocument.presentationml.tags+xml"/>
  <Override PartName="/ppt/diagrams/data3.xml" ContentType="application/vnd.openxmlformats-officedocument.drawingml.diagramData+xml"/>
  <Override PartName="/ppt/theme/theme4.xml" ContentType="application/vnd.openxmlformats-officedocument.theme+xml"/>
  <Override PartName="/ppt/notesSlides/notesSlide5.xml" ContentType="application/vnd.openxmlformats-officedocument.presentationml.notesSlide+xml"/>
  <Override PartName="/ppt/slideLayouts/slideLayout27.xml" ContentType="application/vnd.openxmlformats-officedocument.presentationml.slideLayout+xml"/>
  <Override PartName="/ppt/tags/tag25.xml" ContentType="application/vnd.openxmlformats-officedocument.presentationml.tags+xml"/>
  <Override PartName="/ppt/slides/slide10.xml" ContentType="application/vnd.openxmlformats-officedocument.presentationml.slide+xml"/>
  <Override PartName="/ppt/diagrams/drawing4.xml" ContentType="application/vnd.ms-office.drawingml.diagramDrawing+xml"/>
  <Override PartName="/ppt/tags/tag34.xml" ContentType="application/vnd.openxmlformats-officedocument.presentationml.tags+xml"/>
  <Override PartName="/ppt/embeddings/oleObject4.bin" ContentType="application/vnd.openxmlformats-officedocument.oleObject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diagrams/layout6.xml" ContentType="application/vnd.openxmlformats-officedocument.drawingml.diagramLayout+xml"/>
  <Override PartName="/ppt/slides/slide16.xml" ContentType="application/vnd.openxmlformats-officedocument.presentationml.slide+xml"/>
  <Override PartName="/ppt/viewProps.xml" ContentType="application/vnd.openxmlformats-officedocument.presentationml.viewProps+xml"/>
  <Default Extension="rels" ContentType="application/vnd.openxmlformats-package.relationships+xml"/>
  <Override PartName="/ppt/slides/slide7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5.xml" ContentType="application/vnd.openxmlformats-officedocument.presentationml.slideMaster+xml"/>
  <Override PartName="/ppt/diagrams/quickStyle4.xml" ContentType="application/vnd.openxmlformats-officedocument.drawingml.diagramStyle+xml"/>
  <Override PartName="/ppt/slideLayouts/slideLayout13.xml" ContentType="application/vnd.openxmlformats-officedocument.presentationml.slideLayout+xml"/>
  <Override PartName="/ppt/tags/tag10.xml" ContentType="application/vnd.openxmlformats-officedocument.presentationml.tags+xml"/>
  <Override PartName="/ppt/presProps.xml" ContentType="application/vnd.openxmlformats-officedocument.presentationml.presProps+xml"/>
  <Override PartName="/ppt/slideLayouts/slideLayout22.xml" ContentType="application/vnd.openxmlformats-officedocument.presentationml.slideLayout+xml"/>
  <Override PartName="/ppt/tags/tag20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diagrams/colors6.xml" ContentType="application/vnd.openxmlformats-officedocument.drawingml.diagramColors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6.xml" ContentType="application/vnd.openxmlformats-officedocument.presentationml.tags+xml"/>
  <Override PartName="/ppt/theme/theme5.xml" ContentType="application/vnd.openxmlformats-officedocument.theme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slideLayouts/slideLayout28.xml" ContentType="application/vnd.openxmlformats-officedocument.presentationml.slideLayout+xml"/>
  <Override PartName="/ppt/slides/slide11.xml" ContentType="application/vnd.openxmlformats-officedocument.presentationml.slide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5.bin" ContentType="application/vnd.openxmlformats-officedocument.oleObject"/>
  <Override PartName="/ppt/tags/tag35.xml" ContentType="application/vnd.openxmlformats-officedocument.presentationml.tags+xml"/>
  <Override PartName="/ppt/diagrams/drawing5.xml" ContentType="application/vnd.ms-office.drawingml.diagramDrawing+xml"/>
  <Override PartName="/ppt/slides/slide2.xml" ContentType="application/vnd.openxmlformats-officedocument.presentationml.slide+xml"/>
  <Override PartName="/ppt/slideLayouts/slideLayout3.xml" ContentType="application/vnd.openxmlformats-officedocument.presentationml.slideLayout+xml"/>
  <Override PartName="/ppt/diagrams/layout7.xml" ContentType="application/vnd.openxmlformats-officedocument.drawingml.diagramLayout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Masters/slideMaster6.xml" ContentType="application/vnd.openxmlformats-officedocument.presentationml.slideMaster+xml"/>
  <Override PartName="/ppt/diagrams/quickStyle5.xml" ContentType="application/vnd.openxmlformats-officedocument.drawingml.diagramStyle+xml"/>
  <Override PartName="/ppt/diagrams/colors1.xml" ContentType="application/vnd.openxmlformats-officedocument.drawingml.diagramColors+xml"/>
  <Override PartName="/ppt/slideLayouts/slideLayout14.xml" ContentType="application/vnd.openxmlformats-officedocument.presentationml.slideLayout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23.xml" ContentType="application/vnd.openxmlformats-officedocument.presentationml.slideLayout+xml"/>
  <Override PartName="/ppt/tags/tag21.xml" ContentType="application/vnd.openxmlformats-officedocument.presentationml.tags+xml"/>
  <Override PartName="/ppt/slideLayouts/slideLayout33.xml" ContentType="application/vnd.openxmlformats-officedocument.presentationml.slideLayout+xml"/>
  <Override PartName="/ppt/tags/tag30.xml" ContentType="application/vnd.openxmlformats-officedocument.presentationml.tags+xml"/>
  <Override PartName="/ppt/diagrams/colors7.xml" ContentType="application/vnd.openxmlformats-officedocument.drawingml.diagramColors+xml"/>
  <Override PartName="/ppt/tags/tag6.xml" ContentType="application/vnd.openxmlformats-officedocument.presentationml.tags+xml"/>
  <Override PartName="/ppt/diagrams/drawing6.xml" ContentType="application/vnd.ms-office.drawingml.diagramDrawing+xml"/>
  <Override PartName="/ppt/tags/tag17.xml" ContentType="application/vnd.openxmlformats-officedocument.presentationml.tags+xml"/>
  <Override PartName="/ppt/theme/theme6.xml" ContentType="application/vnd.openxmlformats-officedocument.theme+xml"/>
  <Override PartName="/ppt/diagrams/data5.xml" ContentType="application/vnd.openxmlformats-officedocument.drawingml.diagramData+xml"/>
  <Override PartName="/ppt/diagrams/layout2.xml" ContentType="application/vnd.openxmlformats-officedocument.drawingml.diagramLayout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slides/slide12.xml" ContentType="application/vnd.openxmlformats-officedocument.presentationml.slide+xml"/>
  <Override PartName="/ppt/slideLayouts/slideLayout29.xml" ContentType="application/vnd.openxmlformats-officedocument.presentationml.slideLayout+xml"/>
  <Override PartName="/ppt/embeddings/oleObject6.bin" ContentType="application/vnd.openxmlformats-officedocument.oleObject"/>
  <Override PartName="/ppt/tags/tag36.xml" ContentType="application/vnd.openxmlformats-officedocument.presentationml.tags+xml"/>
  <Override PartName="/ppt/slides/slide3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r:id="rId1"/>
    <p:sldMasterId r:id="rId2"/>
    <p:sldMasterId r:id="rId3"/>
    <p:sldMasterId r:id="rId4"/>
    <p:sldMasterId r:id="rId5"/>
    <p:sldMasterId r:id="rId6"/>
    <p:sldMasterId r:id="rId7"/>
    <p:sldMasterId r:id="rId8"/>
  </p:sldMasterIdLst>
  <p:notesMasterIdLst>
    <p:notesMasterId r:id="rId26"/>
  </p:notesMasterIdLst>
  <p:sldIdLst>
    <p:sldId id="448" r:id="rId9"/>
    <p:sldId id="491" r:id="rId10"/>
    <p:sldId id="505" r:id="rId11"/>
    <p:sldId id="517" r:id="rId12"/>
    <p:sldId id="520" r:id="rId13"/>
    <p:sldId id="521" r:id="rId14"/>
    <p:sldId id="515" r:id="rId15"/>
    <p:sldId id="498" r:id="rId16"/>
    <p:sldId id="508" r:id="rId17"/>
    <p:sldId id="452" r:id="rId18"/>
    <p:sldId id="509" r:id="rId19"/>
    <p:sldId id="451" r:id="rId20"/>
    <p:sldId id="457" r:id="rId21"/>
    <p:sldId id="459" r:id="rId22"/>
    <p:sldId id="513" r:id="rId23"/>
    <p:sldId id="514" r:id="rId24"/>
    <p:sldId id="518" r:id="rId25"/>
  </p:sldIdLst>
  <p:sldSz cx="9144000" cy="6858000" type="screen4x3"/>
  <p:notesSz cx="7010400" cy="9296400"/>
  <p:custDataLst>
    <p:tags r:id="rId28"/>
  </p:custDataLst>
  <p:defaultTextStyle>
    <a:defPPr>
      <a:defRPr lang="en-US"/>
    </a:defPPr>
    <a:lvl1pPr marL="0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90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176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267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355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443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530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622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708" algn="l" defTabSz="91217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="" xmlns:p="http://schemas.openxmlformats.org/presentationml/2006/main" xmlns:r="http://schemas.openxmlformats.org/officeDocument/2006/relationships" xmlns:a="http://schemas.openxmlformats.org/drawingml/2006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CC0000"/>
    <a:srgbClr val="FF6600"/>
    <a:srgbClr val="990033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="" xmlns:p="http://schemas.openxmlformats.org/presentationml/2006/main" xmlns:r="http://schemas.openxmlformats.org/officeDocument/2006/relationships" xmlns:a="http://schemas.openxmlformats.org/drawingml/2006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howOutlineIcons="0">
    <p:restoredLeft sz="27382" autoAdjust="0"/>
    <p:restoredTop sz="79454" autoAdjust="0"/>
  </p:normalViewPr>
  <p:slideViewPr>
    <p:cSldViewPr>
      <p:cViewPr varScale="1">
        <p:scale>
          <a:sx n="107" d="100"/>
          <a:sy n="107" d="100"/>
        </p:scale>
        <p:origin x="-1272" y="-104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1.xml"/><Relationship Id="rId20" Type="http://schemas.openxmlformats.org/officeDocument/2006/relationships/slide" Target="slides/slide12.xml"/><Relationship Id="rId21" Type="http://schemas.openxmlformats.org/officeDocument/2006/relationships/slide" Target="slides/slide13.xml"/><Relationship Id="rId22" Type="http://schemas.openxmlformats.org/officeDocument/2006/relationships/slide" Target="slides/slide14.xml"/><Relationship Id="rId23" Type="http://schemas.openxmlformats.org/officeDocument/2006/relationships/slide" Target="slides/slide15.xml"/><Relationship Id="rId24" Type="http://schemas.openxmlformats.org/officeDocument/2006/relationships/slide" Target="slides/slide16.xml"/><Relationship Id="rId25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tags" Target="tags/tag1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Relationship Id="rId13" Type="http://schemas.openxmlformats.org/officeDocument/2006/relationships/slide" Target="slides/slide5.xml"/><Relationship Id="rId14" Type="http://schemas.openxmlformats.org/officeDocument/2006/relationships/slide" Target="slides/slide6.xml"/><Relationship Id="rId15" Type="http://schemas.openxmlformats.org/officeDocument/2006/relationships/slide" Target="slides/slide7.xml"/><Relationship Id="rId16" Type="http://schemas.openxmlformats.org/officeDocument/2006/relationships/slide" Target="slides/slide8.xml"/><Relationship Id="rId17" Type="http://schemas.openxmlformats.org/officeDocument/2006/relationships/slide" Target="slides/slide9.xml"/><Relationship Id="rId18" Type="http://schemas.openxmlformats.org/officeDocument/2006/relationships/slide" Target="slides/slide10.xml"/><Relationship Id="rId1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7CE58E-CD4A-C54E-8562-E7897A5B2C95}" type="doc">
      <dgm:prSet loTypeId="urn:microsoft.com/office/officeart/2005/8/layout/hierarchy1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FCB38A4C-1A02-BA40-A763-2E5B1D3F77AC}">
      <dgm:prSet phldrT="[Texto]"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rtalidad Materna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5940C98-E221-3342-827A-0CC0BF35C81F}" type="parTrans" cxnId="{6862EAAF-DE39-1B46-B815-9B167E55A2F7}">
      <dgm:prSet/>
      <dgm:spPr/>
      <dgm:t>
        <a:bodyPr/>
        <a:lstStyle/>
        <a:p>
          <a:endParaRPr lang="es-ES_tradnl"/>
        </a:p>
      </dgm:t>
    </dgm:pt>
    <dgm:pt modelId="{98092627-08CD-3E41-84E5-877D23C95FFD}" type="sibTrans" cxnId="{6862EAAF-DE39-1B46-B815-9B167E55A2F7}">
      <dgm:prSet/>
      <dgm:spPr/>
      <dgm:t>
        <a:bodyPr/>
        <a:lstStyle/>
        <a:p>
          <a:endParaRPr lang="es-ES_tradnl"/>
        </a:p>
      </dgm:t>
    </dgm:pt>
    <dgm:pt modelId="{C07C7767-D4F3-DB41-9A82-278276283EE1}">
      <dgm:prSet phldrT="[Texto]"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rcera demora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1E657CA-D23D-FD42-B0F8-C386D8F5E9F7}" type="parTrans" cxnId="{9FEE755F-AC4D-8F46-B57C-70A658F577BC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3DA713B-BAAD-4541-9F8E-13F263148977}" type="sibTrans" cxnId="{9FEE755F-AC4D-8F46-B57C-70A658F577BC}">
      <dgm:prSet/>
      <dgm:spPr/>
      <dgm:t>
        <a:bodyPr/>
        <a:lstStyle/>
        <a:p>
          <a:endParaRPr lang="es-ES_tradnl"/>
        </a:p>
      </dgm:t>
    </dgm:pt>
    <dgm:pt modelId="{7891BBCC-96F8-FC4C-ACAC-D02C021B55B2}">
      <dgm:prSet phldrT="[Texto]"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recibir un tratamiento adecuado</a:t>
          </a:r>
        </a:p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2%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F7A1192-021A-A749-BC1B-FAFFE26934F1}" type="parTrans" cxnId="{C5232D96-19A6-384C-AE6B-177388ED73BE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0916C88-196A-7C42-AF01-81F84E0987B2}" type="sibTrans" cxnId="{C5232D96-19A6-384C-AE6B-177388ED73BE}">
      <dgm:prSet/>
      <dgm:spPr/>
      <dgm:t>
        <a:bodyPr/>
        <a:lstStyle/>
        <a:p>
          <a:endParaRPr lang="es-ES_tradnl"/>
        </a:p>
      </dgm:t>
    </dgm:pt>
    <dgm:pt modelId="{39E11D6C-7849-1341-93F8-193A2647FFDC}">
      <dgm:prSet phldrT="[Texto]"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gunda Demora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15A30E0-3C93-9D40-A2DC-AE17911D0BF9}" type="parTrans" cxnId="{160957CD-92FE-6A4E-94B6-A08740803A9E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946F2F5-2547-E541-949A-FC72E1981EB6}" type="sibTrans" cxnId="{160957CD-92FE-6A4E-94B6-A08740803A9E}">
      <dgm:prSet/>
      <dgm:spPr/>
      <dgm:t>
        <a:bodyPr/>
        <a:lstStyle/>
        <a:p>
          <a:endParaRPr lang="es-ES_tradnl"/>
        </a:p>
      </dgm:t>
    </dgm:pt>
    <dgm:pt modelId="{1550A8C6-CE1A-B548-9D8A-D7D4A1C4FB08}">
      <dgm:prSet phldrT="[Texto]"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llegar a un establecimiento adecuado</a:t>
          </a:r>
        </a:p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%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57D95DE-B13F-154C-9422-D5B5EADE58BD}" type="parTrans" cxnId="{F653046C-296D-2F4F-8E27-77B780A60DC3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BF673A2-40F5-814E-8F1C-A907F6B9307D}" type="sibTrans" cxnId="{F653046C-296D-2F4F-8E27-77B780A60DC3}">
      <dgm:prSet/>
      <dgm:spPr/>
      <dgm:t>
        <a:bodyPr/>
        <a:lstStyle/>
        <a:p>
          <a:endParaRPr lang="es-ES_tradnl"/>
        </a:p>
      </dgm:t>
    </dgm:pt>
    <dgm:pt modelId="{6121EF9E-A1C8-5B42-9432-F6951426C6A5}">
      <dgm:prSet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lanificación familiar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1524956-8B46-2F41-BB1D-DEDA7F31C2DB}" type="parTrans" cxnId="{3EE569E6-007A-3B40-87EA-F9DB9B140FDA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BE0CEC5-2746-6241-81D5-0881E88AA726}" type="sibTrans" cxnId="{3EE569E6-007A-3B40-87EA-F9DB9B140FDA}">
      <dgm:prSet/>
      <dgm:spPr/>
      <dgm:t>
        <a:bodyPr/>
        <a:lstStyle/>
        <a:p>
          <a:endParaRPr lang="es-ES_tradnl"/>
        </a:p>
      </dgm:t>
    </dgm:pt>
    <dgm:pt modelId="{72327BD2-1CD3-C24D-8A09-E415EB107F9F}">
      <dgm:prSet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imera demora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310949F-C6BB-604D-B3A2-C4114EC8BA74}" type="parTrans" cxnId="{FCD7452C-A273-E64F-B5CA-EA768573AC73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24B7497-BE74-E44A-BA77-6376DAECD5FB}" type="sibTrans" cxnId="{FCD7452C-A273-E64F-B5CA-EA768573AC73}">
      <dgm:prSet/>
      <dgm:spPr/>
      <dgm:t>
        <a:bodyPr/>
        <a:lstStyle/>
        <a:p>
          <a:endParaRPr lang="es-ES_tradnl"/>
        </a:p>
      </dgm:t>
    </dgm:pt>
    <dgm:pt modelId="{976722BA-1F7B-B74C-A39B-A779E0A1B920}">
      <dgm:prSet/>
      <dgm:spPr/>
      <dgm:t>
        <a:bodyPr/>
        <a:lstStyle/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tomar la decisión de búsqueda de atención</a:t>
          </a:r>
        </a:p>
        <a:p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0%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94C15F6-3264-4B4F-948C-5DDB7FEE1CA6}" type="parTrans" cxnId="{136F8A98-4A01-BC4D-A06F-DAD399A61038}">
      <dgm:prSet/>
      <dgm:spPr/>
      <dgm:t>
        <a:bodyPr/>
        <a:lstStyle/>
        <a:p>
          <a:endParaRPr lang="es-ES_tradnl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88D23B3-C9C3-D843-A833-C5A6CB2853AD}" type="sibTrans" cxnId="{136F8A98-4A01-BC4D-A06F-DAD399A61038}">
      <dgm:prSet/>
      <dgm:spPr/>
      <dgm:t>
        <a:bodyPr/>
        <a:lstStyle/>
        <a:p>
          <a:endParaRPr lang="es-ES_tradnl"/>
        </a:p>
      </dgm:t>
    </dgm:pt>
    <dgm:pt modelId="{7E39892F-5EC8-4F4F-8A95-D2ADFCF9C613}" type="pres">
      <dgm:prSet presAssocID="{847CE58E-CD4A-C54E-8562-E7897A5B2C9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B7E7B93-31CC-5840-8702-6C0CA3BD077E}" type="pres">
      <dgm:prSet presAssocID="{FCB38A4C-1A02-BA40-A763-2E5B1D3F77AC}" presName="hierRoot1" presStyleCnt="0"/>
      <dgm:spPr/>
    </dgm:pt>
    <dgm:pt modelId="{1F1B1922-56EC-AE46-9E3D-3A8B7C32DECD}" type="pres">
      <dgm:prSet presAssocID="{FCB38A4C-1A02-BA40-A763-2E5B1D3F77AC}" presName="composite" presStyleCnt="0"/>
      <dgm:spPr/>
    </dgm:pt>
    <dgm:pt modelId="{07C3356D-B6F9-224C-A20A-A824B2C91059}" type="pres">
      <dgm:prSet presAssocID="{FCB38A4C-1A02-BA40-A763-2E5B1D3F77AC}" presName="background" presStyleLbl="node0" presStyleIdx="0" presStyleCnt="1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683FAA36-B04C-FE47-899B-A20143DC6926}" type="pres">
      <dgm:prSet presAssocID="{FCB38A4C-1A02-BA40-A763-2E5B1D3F77AC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es-ES_tradnl"/>
        </a:p>
      </dgm:t>
    </dgm:pt>
    <dgm:pt modelId="{F9606FAD-D539-A447-A940-2CB30AB64619}" type="pres">
      <dgm:prSet presAssocID="{FCB38A4C-1A02-BA40-A763-2E5B1D3F77AC}" presName="hierChild2" presStyleCnt="0"/>
      <dgm:spPr/>
    </dgm:pt>
    <dgm:pt modelId="{FD32F9C7-07AF-3D42-9E0F-2EBFB7829570}" type="pres">
      <dgm:prSet presAssocID="{D1E657CA-D23D-FD42-B0F8-C386D8F5E9F7}" presName="Name10" presStyleLbl="parChTrans1D2" presStyleIdx="0" presStyleCnt="4"/>
      <dgm:spPr/>
      <dgm:t>
        <a:bodyPr/>
        <a:lstStyle/>
        <a:p>
          <a:endParaRPr lang="en-US"/>
        </a:p>
      </dgm:t>
    </dgm:pt>
    <dgm:pt modelId="{51AC780E-3967-D74B-842C-945621982A89}" type="pres">
      <dgm:prSet presAssocID="{C07C7767-D4F3-DB41-9A82-278276283EE1}" presName="hierRoot2" presStyleCnt="0"/>
      <dgm:spPr/>
    </dgm:pt>
    <dgm:pt modelId="{FE80BE97-98BD-E24A-9A72-DFDEC017ECAF}" type="pres">
      <dgm:prSet presAssocID="{C07C7767-D4F3-DB41-9A82-278276283EE1}" presName="composite2" presStyleCnt="0"/>
      <dgm:spPr/>
    </dgm:pt>
    <dgm:pt modelId="{177DC40E-1496-4A4C-B562-EB6EBAC5338C}" type="pres">
      <dgm:prSet presAssocID="{C07C7767-D4F3-DB41-9A82-278276283EE1}" presName="background2" presStyleLbl="node2" presStyleIdx="0" presStyleCnt="4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53B3F96C-C904-404A-BF61-5F98455C0B14}" type="pres">
      <dgm:prSet presAssocID="{C07C7767-D4F3-DB41-9A82-278276283EE1}" presName="text2" presStyleLbl="fgAcc2" presStyleIdx="0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08250D4-FEF3-EE46-9F0D-3F42D93D89A9}" type="pres">
      <dgm:prSet presAssocID="{C07C7767-D4F3-DB41-9A82-278276283EE1}" presName="hierChild3" presStyleCnt="0"/>
      <dgm:spPr/>
    </dgm:pt>
    <dgm:pt modelId="{CF3C4B9B-8DB0-3E4B-A177-95260D83C563}" type="pres">
      <dgm:prSet presAssocID="{AF7A1192-021A-A749-BC1B-FAFFE26934F1}" presName="Name17" presStyleLbl="parChTrans1D3" presStyleIdx="0" presStyleCnt="3"/>
      <dgm:spPr/>
      <dgm:t>
        <a:bodyPr/>
        <a:lstStyle/>
        <a:p>
          <a:endParaRPr lang="en-US"/>
        </a:p>
      </dgm:t>
    </dgm:pt>
    <dgm:pt modelId="{04D098D1-98AA-9E48-9A60-23685FA8BB6F}" type="pres">
      <dgm:prSet presAssocID="{7891BBCC-96F8-FC4C-ACAC-D02C021B55B2}" presName="hierRoot3" presStyleCnt="0"/>
      <dgm:spPr/>
    </dgm:pt>
    <dgm:pt modelId="{5CDAA628-C813-5B4C-9A31-C36E7CBBE025}" type="pres">
      <dgm:prSet presAssocID="{7891BBCC-96F8-FC4C-ACAC-D02C021B55B2}" presName="composite3" presStyleCnt="0"/>
      <dgm:spPr/>
    </dgm:pt>
    <dgm:pt modelId="{F7481B29-7796-F146-BE3F-78E8CB05B603}" type="pres">
      <dgm:prSet presAssocID="{7891BBCC-96F8-FC4C-ACAC-D02C021B55B2}" presName="background3" presStyleLbl="node3" presStyleIdx="0" presStyleCnt="3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1E9C73AA-0016-EB48-9E72-C2AFAD9CA538}" type="pres">
      <dgm:prSet presAssocID="{7891BBCC-96F8-FC4C-ACAC-D02C021B55B2}" presName="text3" presStyleLbl="fgAcc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A63D7C2-9A32-A149-8373-AE869E1469C9}" type="pres">
      <dgm:prSet presAssocID="{7891BBCC-96F8-FC4C-ACAC-D02C021B55B2}" presName="hierChild4" presStyleCnt="0"/>
      <dgm:spPr/>
    </dgm:pt>
    <dgm:pt modelId="{82C44139-7AAB-F546-A68D-44E38DB60EB5}" type="pres">
      <dgm:prSet presAssocID="{A15A30E0-3C93-9D40-A2DC-AE17911D0BF9}" presName="Name10" presStyleLbl="parChTrans1D2" presStyleIdx="1" presStyleCnt="4"/>
      <dgm:spPr/>
      <dgm:t>
        <a:bodyPr/>
        <a:lstStyle/>
        <a:p>
          <a:endParaRPr lang="en-US"/>
        </a:p>
      </dgm:t>
    </dgm:pt>
    <dgm:pt modelId="{E512ACA8-3C73-9B4C-8ADA-93ED0838F5FB}" type="pres">
      <dgm:prSet presAssocID="{39E11D6C-7849-1341-93F8-193A2647FFDC}" presName="hierRoot2" presStyleCnt="0"/>
      <dgm:spPr/>
    </dgm:pt>
    <dgm:pt modelId="{791AE83A-0603-B64C-90A3-47F7F440EB5B}" type="pres">
      <dgm:prSet presAssocID="{39E11D6C-7849-1341-93F8-193A2647FFDC}" presName="composite2" presStyleCnt="0"/>
      <dgm:spPr/>
    </dgm:pt>
    <dgm:pt modelId="{6CA0E149-28C4-8D4E-B78E-8888184821B3}" type="pres">
      <dgm:prSet presAssocID="{39E11D6C-7849-1341-93F8-193A2647FFDC}" presName="background2" presStyleLbl="node2" presStyleIdx="1" presStyleCnt="4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C9954678-F190-F144-ABF8-12B59B6918CE}" type="pres">
      <dgm:prSet presAssocID="{39E11D6C-7849-1341-93F8-193A2647FFDC}" presName="text2" presStyleLbl="fgAcc2" presStyleIdx="1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DEE4767-5396-404B-AA14-2958E6EE7A2E}" type="pres">
      <dgm:prSet presAssocID="{39E11D6C-7849-1341-93F8-193A2647FFDC}" presName="hierChild3" presStyleCnt="0"/>
      <dgm:spPr/>
    </dgm:pt>
    <dgm:pt modelId="{186D812F-4519-B440-95B4-55AACBEF76B9}" type="pres">
      <dgm:prSet presAssocID="{557D95DE-B13F-154C-9422-D5B5EADE58BD}" presName="Name17" presStyleLbl="parChTrans1D3" presStyleIdx="1" presStyleCnt="3"/>
      <dgm:spPr/>
      <dgm:t>
        <a:bodyPr/>
        <a:lstStyle/>
        <a:p>
          <a:endParaRPr lang="en-US"/>
        </a:p>
      </dgm:t>
    </dgm:pt>
    <dgm:pt modelId="{6C566720-65EC-8448-9D1C-8C4896FF7898}" type="pres">
      <dgm:prSet presAssocID="{1550A8C6-CE1A-B548-9D8A-D7D4A1C4FB08}" presName="hierRoot3" presStyleCnt="0"/>
      <dgm:spPr/>
    </dgm:pt>
    <dgm:pt modelId="{8FADCE67-90CC-9146-94B9-F77C07DBA2A2}" type="pres">
      <dgm:prSet presAssocID="{1550A8C6-CE1A-B548-9D8A-D7D4A1C4FB08}" presName="composite3" presStyleCnt="0"/>
      <dgm:spPr/>
    </dgm:pt>
    <dgm:pt modelId="{2CE18776-9550-4445-8614-798DE1EAA783}" type="pres">
      <dgm:prSet presAssocID="{1550A8C6-CE1A-B548-9D8A-D7D4A1C4FB08}" presName="background3" presStyleLbl="node3" presStyleIdx="1" presStyleCnt="3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44BBC7A3-AA56-2E43-A046-5DF2F116679C}" type="pres">
      <dgm:prSet presAssocID="{1550A8C6-CE1A-B548-9D8A-D7D4A1C4FB08}" presName="text3" presStyleLbl="fgAcc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78863AB-229E-1144-BA05-84D4FAC96F60}" type="pres">
      <dgm:prSet presAssocID="{1550A8C6-CE1A-B548-9D8A-D7D4A1C4FB08}" presName="hierChild4" presStyleCnt="0"/>
      <dgm:spPr/>
    </dgm:pt>
    <dgm:pt modelId="{89CE658C-BCA2-6C40-95D9-2F05F0D7BF07}" type="pres">
      <dgm:prSet presAssocID="{D310949F-C6BB-604D-B3A2-C4114EC8BA74}" presName="Name10" presStyleLbl="parChTrans1D2" presStyleIdx="2" presStyleCnt="4"/>
      <dgm:spPr/>
      <dgm:t>
        <a:bodyPr/>
        <a:lstStyle/>
        <a:p>
          <a:endParaRPr lang="en-US"/>
        </a:p>
      </dgm:t>
    </dgm:pt>
    <dgm:pt modelId="{6BBA511C-C884-FF4A-BC65-2FB1B2C266BF}" type="pres">
      <dgm:prSet presAssocID="{72327BD2-1CD3-C24D-8A09-E415EB107F9F}" presName="hierRoot2" presStyleCnt="0"/>
      <dgm:spPr/>
    </dgm:pt>
    <dgm:pt modelId="{62E074CF-327E-5E49-8747-3D9617EC09DF}" type="pres">
      <dgm:prSet presAssocID="{72327BD2-1CD3-C24D-8A09-E415EB107F9F}" presName="composite2" presStyleCnt="0"/>
      <dgm:spPr/>
    </dgm:pt>
    <dgm:pt modelId="{E26BCDDD-13F7-2147-94FC-6BA294219A0B}" type="pres">
      <dgm:prSet presAssocID="{72327BD2-1CD3-C24D-8A09-E415EB107F9F}" presName="background2" presStyleLbl="node2" presStyleIdx="2" presStyleCnt="4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B42408B2-D114-0843-92AB-080506B0B582}" type="pres">
      <dgm:prSet presAssocID="{72327BD2-1CD3-C24D-8A09-E415EB107F9F}" presName="text2" presStyleLbl="fgAcc2" presStyleIdx="2" presStyleCnt="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9615D5C-FA11-1648-9873-A85E1B48CFF7}" type="pres">
      <dgm:prSet presAssocID="{72327BD2-1CD3-C24D-8A09-E415EB107F9F}" presName="hierChild3" presStyleCnt="0"/>
      <dgm:spPr/>
    </dgm:pt>
    <dgm:pt modelId="{AC34D835-3480-D741-8B53-2E89B6AF0165}" type="pres">
      <dgm:prSet presAssocID="{B94C15F6-3264-4B4F-948C-5DDB7FEE1CA6}" presName="Name17" presStyleLbl="parChTrans1D3" presStyleIdx="2" presStyleCnt="3"/>
      <dgm:spPr/>
      <dgm:t>
        <a:bodyPr/>
        <a:lstStyle/>
        <a:p>
          <a:endParaRPr lang="en-US"/>
        </a:p>
      </dgm:t>
    </dgm:pt>
    <dgm:pt modelId="{8AE37E56-8B1B-214A-9E05-DD620B059479}" type="pres">
      <dgm:prSet presAssocID="{976722BA-1F7B-B74C-A39B-A779E0A1B920}" presName="hierRoot3" presStyleCnt="0"/>
      <dgm:spPr/>
    </dgm:pt>
    <dgm:pt modelId="{71A4733C-DF89-EE43-8741-B05406DE0D6D}" type="pres">
      <dgm:prSet presAssocID="{976722BA-1F7B-B74C-A39B-A779E0A1B920}" presName="composite3" presStyleCnt="0"/>
      <dgm:spPr/>
    </dgm:pt>
    <dgm:pt modelId="{B6BEB7C9-81B6-1E45-B011-D0CA0B10B080}" type="pres">
      <dgm:prSet presAssocID="{976722BA-1F7B-B74C-A39B-A779E0A1B920}" presName="background3" presStyleLbl="node3" presStyleIdx="2" presStyleCnt="3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6C317D4F-E3BB-EE4E-980E-81B4CEFFB593}" type="pres">
      <dgm:prSet presAssocID="{976722BA-1F7B-B74C-A39B-A779E0A1B920}" presName="text3" presStyleLbl="fgAcc3" presStyleIdx="2" presStyleCnt="3">
        <dgm:presLayoutVars>
          <dgm:chPref val="3"/>
        </dgm:presLayoutVars>
      </dgm:prSet>
      <dgm:spPr/>
      <dgm:t>
        <a:bodyPr/>
        <a:lstStyle/>
        <a:p>
          <a:endParaRPr lang="es-ES_tradnl"/>
        </a:p>
      </dgm:t>
    </dgm:pt>
    <dgm:pt modelId="{DCD1DA88-E940-E64C-B4C9-3B4F0D6D7AC8}" type="pres">
      <dgm:prSet presAssocID="{976722BA-1F7B-B74C-A39B-A779E0A1B920}" presName="hierChild4" presStyleCnt="0"/>
      <dgm:spPr/>
    </dgm:pt>
    <dgm:pt modelId="{26C117DC-9B14-834A-86C1-2C80790F60A4}" type="pres">
      <dgm:prSet presAssocID="{21524956-8B46-2F41-BB1D-DEDA7F31C2DB}" presName="Name10" presStyleLbl="parChTrans1D2" presStyleIdx="3" presStyleCnt="4"/>
      <dgm:spPr/>
      <dgm:t>
        <a:bodyPr/>
        <a:lstStyle/>
        <a:p>
          <a:endParaRPr lang="en-US"/>
        </a:p>
      </dgm:t>
    </dgm:pt>
    <dgm:pt modelId="{C7222415-9FE9-8549-B5E6-F41DF4F2F5E4}" type="pres">
      <dgm:prSet presAssocID="{6121EF9E-A1C8-5B42-9432-F6951426C6A5}" presName="hierRoot2" presStyleCnt="0"/>
      <dgm:spPr/>
    </dgm:pt>
    <dgm:pt modelId="{4031BDA6-723D-3B42-8CF7-2C7B6CED8029}" type="pres">
      <dgm:prSet presAssocID="{6121EF9E-A1C8-5B42-9432-F6951426C6A5}" presName="composite2" presStyleCnt="0"/>
      <dgm:spPr/>
    </dgm:pt>
    <dgm:pt modelId="{216E6E6D-AA81-5C46-B14E-AC2DBBE964B2}" type="pres">
      <dgm:prSet presAssocID="{6121EF9E-A1C8-5B42-9432-F6951426C6A5}" presName="background2" presStyleLbl="node2" presStyleIdx="3" presStyleCnt="4"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3A12F5DA-2885-454B-9255-64056A28CC9C}" type="pres">
      <dgm:prSet presAssocID="{6121EF9E-A1C8-5B42-9432-F6951426C6A5}" presName="text2" presStyleLbl="fgAcc2" presStyleIdx="3" presStyleCnt="4">
        <dgm:presLayoutVars>
          <dgm:chPref val="3"/>
        </dgm:presLayoutVars>
      </dgm:prSet>
      <dgm:spPr/>
      <dgm:t>
        <a:bodyPr/>
        <a:lstStyle/>
        <a:p>
          <a:endParaRPr lang="es-ES_tradnl"/>
        </a:p>
      </dgm:t>
    </dgm:pt>
    <dgm:pt modelId="{02B6197D-5635-FA4B-8158-A0FB9CB7347B}" type="pres">
      <dgm:prSet presAssocID="{6121EF9E-A1C8-5B42-9432-F6951426C6A5}" presName="hierChild3" presStyleCnt="0"/>
      <dgm:spPr/>
    </dgm:pt>
  </dgm:ptLst>
  <dgm:cxnLst>
    <dgm:cxn modelId="{F653046C-296D-2F4F-8E27-77B780A60DC3}" srcId="{39E11D6C-7849-1341-93F8-193A2647FFDC}" destId="{1550A8C6-CE1A-B548-9D8A-D7D4A1C4FB08}" srcOrd="0" destOrd="0" parTransId="{557D95DE-B13F-154C-9422-D5B5EADE58BD}" sibTransId="{DBF673A2-40F5-814E-8F1C-A907F6B9307D}"/>
    <dgm:cxn modelId="{7833A981-A6C6-4043-B002-56D4F7A58F6F}" type="presOf" srcId="{72327BD2-1CD3-C24D-8A09-E415EB107F9F}" destId="{B42408B2-D114-0843-92AB-080506B0B582}" srcOrd="0" destOrd="0" presId="urn:microsoft.com/office/officeart/2005/8/layout/hierarchy1"/>
    <dgm:cxn modelId="{867776D1-9D8E-8D48-94F9-1F34F7E56B9B}" type="presOf" srcId="{557D95DE-B13F-154C-9422-D5B5EADE58BD}" destId="{186D812F-4519-B440-95B4-55AACBEF76B9}" srcOrd="0" destOrd="0" presId="urn:microsoft.com/office/officeart/2005/8/layout/hierarchy1"/>
    <dgm:cxn modelId="{D3B45D7E-B0F3-6440-9394-31C43564B563}" type="presOf" srcId="{B94C15F6-3264-4B4F-948C-5DDB7FEE1CA6}" destId="{AC34D835-3480-D741-8B53-2E89B6AF0165}" srcOrd="0" destOrd="0" presId="urn:microsoft.com/office/officeart/2005/8/layout/hierarchy1"/>
    <dgm:cxn modelId="{E6382820-5D57-4143-BBA9-24711AAEF3BA}" type="presOf" srcId="{C07C7767-D4F3-DB41-9A82-278276283EE1}" destId="{53B3F96C-C904-404A-BF61-5F98455C0B14}" srcOrd="0" destOrd="0" presId="urn:microsoft.com/office/officeart/2005/8/layout/hierarchy1"/>
    <dgm:cxn modelId="{56BAAFC6-E4B5-7F4D-909D-D893667ABC9B}" type="presOf" srcId="{D310949F-C6BB-604D-B3A2-C4114EC8BA74}" destId="{89CE658C-BCA2-6C40-95D9-2F05F0D7BF07}" srcOrd="0" destOrd="0" presId="urn:microsoft.com/office/officeart/2005/8/layout/hierarchy1"/>
    <dgm:cxn modelId="{5D8E3B8C-B7F9-1944-A335-FEF66765384C}" type="presOf" srcId="{976722BA-1F7B-B74C-A39B-A779E0A1B920}" destId="{6C317D4F-E3BB-EE4E-980E-81B4CEFFB593}" srcOrd="0" destOrd="0" presId="urn:microsoft.com/office/officeart/2005/8/layout/hierarchy1"/>
    <dgm:cxn modelId="{11FE7BA8-7ED3-634C-8495-001307A9DABE}" type="presOf" srcId="{6121EF9E-A1C8-5B42-9432-F6951426C6A5}" destId="{3A12F5DA-2885-454B-9255-64056A28CC9C}" srcOrd="0" destOrd="0" presId="urn:microsoft.com/office/officeart/2005/8/layout/hierarchy1"/>
    <dgm:cxn modelId="{17141417-041A-A940-8F2A-4B459FBA168C}" type="presOf" srcId="{1550A8C6-CE1A-B548-9D8A-D7D4A1C4FB08}" destId="{44BBC7A3-AA56-2E43-A046-5DF2F116679C}" srcOrd="0" destOrd="0" presId="urn:microsoft.com/office/officeart/2005/8/layout/hierarchy1"/>
    <dgm:cxn modelId="{90911C39-D139-7A47-A142-84C41217A1BA}" type="presOf" srcId="{A15A30E0-3C93-9D40-A2DC-AE17911D0BF9}" destId="{82C44139-7AAB-F546-A68D-44E38DB60EB5}" srcOrd="0" destOrd="0" presId="urn:microsoft.com/office/officeart/2005/8/layout/hierarchy1"/>
    <dgm:cxn modelId="{3EE569E6-007A-3B40-87EA-F9DB9B140FDA}" srcId="{FCB38A4C-1A02-BA40-A763-2E5B1D3F77AC}" destId="{6121EF9E-A1C8-5B42-9432-F6951426C6A5}" srcOrd="3" destOrd="0" parTransId="{21524956-8B46-2F41-BB1D-DEDA7F31C2DB}" sibTransId="{FBE0CEC5-2746-6241-81D5-0881E88AA726}"/>
    <dgm:cxn modelId="{FEE56E8B-57E7-DC40-B16E-478574BFCCBC}" type="presOf" srcId="{D1E657CA-D23D-FD42-B0F8-C386D8F5E9F7}" destId="{FD32F9C7-07AF-3D42-9E0F-2EBFB7829570}" srcOrd="0" destOrd="0" presId="urn:microsoft.com/office/officeart/2005/8/layout/hierarchy1"/>
    <dgm:cxn modelId="{883FE317-5A43-524A-AF20-C795D86302A9}" type="presOf" srcId="{21524956-8B46-2F41-BB1D-DEDA7F31C2DB}" destId="{26C117DC-9B14-834A-86C1-2C80790F60A4}" srcOrd="0" destOrd="0" presId="urn:microsoft.com/office/officeart/2005/8/layout/hierarchy1"/>
    <dgm:cxn modelId="{FC0CDA05-BE8D-1943-AD0D-730CBBF414FC}" type="presOf" srcId="{847CE58E-CD4A-C54E-8562-E7897A5B2C95}" destId="{7E39892F-5EC8-4F4F-8A95-D2ADFCF9C613}" srcOrd="0" destOrd="0" presId="urn:microsoft.com/office/officeart/2005/8/layout/hierarchy1"/>
    <dgm:cxn modelId="{73A61A13-F522-224D-9568-F31DFD676086}" type="presOf" srcId="{FCB38A4C-1A02-BA40-A763-2E5B1D3F77AC}" destId="{683FAA36-B04C-FE47-899B-A20143DC6926}" srcOrd="0" destOrd="0" presId="urn:microsoft.com/office/officeart/2005/8/layout/hierarchy1"/>
    <dgm:cxn modelId="{8B187125-0E3F-7A43-8F3B-9D2873444553}" type="presOf" srcId="{7891BBCC-96F8-FC4C-ACAC-D02C021B55B2}" destId="{1E9C73AA-0016-EB48-9E72-C2AFAD9CA538}" srcOrd="0" destOrd="0" presId="urn:microsoft.com/office/officeart/2005/8/layout/hierarchy1"/>
    <dgm:cxn modelId="{9FEE755F-AC4D-8F46-B57C-70A658F577BC}" srcId="{FCB38A4C-1A02-BA40-A763-2E5B1D3F77AC}" destId="{C07C7767-D4F3-DB41-9A82-278276283EE1}" srcOrd="0" destOrd="0" parTransId="{D1E657CA-D23D-FD42-B0F8-C386D8F5E9F7}" sibTransId="{B3DA713B-BAAD-4541-9F8E-13F263148977}"/>
    <dgm:cxn modelId="{160957CD-92FE-6A4E-94B6-A08740803A9E}" srcId="{FCB38A4C-1A02-BA40-A763-2E5B1D3F77AC}" destId="{39E11D6C-7849-1341-93F8-193A2647FFDC}" srcOrd="1" destOrd="0" parTransId="{A15A30E0-3C93-9D40-A2DC-AE17911D0BF9}" sibTransId="{7946F2F5-2547-E541-949A-FC72E1981EB6}"/>
    <dgm:cxn modelId="{C5232D96-19A6-384C-AE6B-177388ED73BE}" srcId="{C07C7767-D4F3-DB41-9A82-278276283EE1}" destId="{7891BBCC-96F8-FC4C-ACAC-D02C021B55B2}" srcOrd="0" destOrd="0" parTransId="{AF7A1192-021A-A749-BC1B-FAFFE26934F1}" sibTransId="{60916C88-196A-7C42-AF01-81F84E0987B2}"/>
    <dgm:cxn modelId="{6862EAAF-DE39-1B46-B815-9B167E55A2F7}" srcId="{847CE58E-CD4A-C54E-8562-E7897A5B2C95}" destId="{FCB38A4C-1A02-BA40-A763-2E5B1D3F77AC}" srcOrd="0" destOrd="0" parTransId="{D5940C98-E221-3342-827A-0CC0BF35C81F}" sibTransId="{98092627-08CD-3E41-84E5-877D23C95FFD}"/>
    <dgm:cxn modelId="{FCD7452C-A273-E64F-B5CA-EA768573AC73}" srcId="{FCB38A4C-1A02-BA40-A763-2E5B1D3F77AC}" destId="{72327BD2-1CD3-C24D-8A09-E415EB107F9F}" srcOrd="2" destOrd="0" parTransId="{D310949F-C6BB-604D-B3A2-C4114EC8BA74}" sibTransId="{C24B7497-BE74-E44A-BA77-6376DAECD5FB}"/>
    <dgm:cxn modelId="{B35D9FC3-5044-BA4A-9776-26F8654337F7}" type="presOf" srcId="{AF7A1192-021A-A749-BC1B-FAFFE26934F1}" destId="{CF3C4B9B-8DB0-3E4B-A177-95260D83C563}" srcOrd="0" destOrd="0" presId="urn:microsoft.com/office/officeart/2005/8/layout/hierarchy1"/>
    <dgm:cxn modelId="{2619A718-BF68-D442-8E1E-8F8FC55F3E8B}" type="presOf" srcId="{39E11D6C-7849-1341-93F8-193A2647FFDC}" destId="{C9954678-F190-F144-ABF8-12B59B6918CE}" srcOrd="0" destOrd="0" presId="urn:microsoft.com/office/officeart/2005/8/layout/hierarchy1"/>
    <dgm:cxn modelId="{136F8A98-4A01-BC4D-A06F-DAD399A61038}" srcId="{72327BD2-1CD3-C24D-8A09-E415EB107F9F}" destId="{976722BA-1F7B-B74C-A39B-A779E0A1B920}" srcOrd="0" destOrd="0" parTransId="{B94C15F6-3264-4B4F-948C-5DDB7FEE1CA6}" sibTransId="{388D23B3-C9C3-D843-A833-C5A6CB2853AD}"/>
    <dgm:cxn modelId="{71E7F6E2-69C6-1540-999B-4AE20C646DF1}" type="presParOf" srcId="{7E39892F-5EC8-4F4F-8A95-D2ADFCF9C613}" destId="{4B7E7B93-31CC-5840-8702-6C0CA3BD077E}" srcOrd="0" destOrd="0" presId="urn:microsoft.com/office/officeart/2005/8/layout/hierarchy1"/>
    <dgm:cxn modelId="{E57EEF1E-22AE-7C46-809F-34E1F0D87BC8}" type="presParOf" srcId="{4B7E7B93-31CC-5840-8702-6C0CA3BD077E}" destId="{1F1B1922-56EC-AE46-9E3D-3A8B7C32DECD}" srcOrd="0" destOrd="0" presId="urn:microsoft.com/office/officeart/2005/8/layout/hierarchy1"/>
    <dgm:cxn modelId="{EEAFAE7F-A926-BA47-9D94-A292180CC3A5}" type="presParOf" srcId="{1F1B1922-56EC-AE46-9E3D-3A8B7C32DECD}" destId="{07C3356D-B6F9-224C-A20A-A824B2C91059}" srcOrd="0" destOrd="0" presId="urn:microsoft.com/office/officeart/2005/8/layout/hierarchy1"/>
    <dgm:cxn modelId="{2B462D86-E0B3-5E4C-8619-0AF0793D2FB3}" type="presParOf" srcId="{1F1B1922-56EC-AE46-9E3D-3A8B7C32DECD}" destId="{683FAA36-B04C-FE47-899B-A20143DC6926}" srcOrd="1" destOrd="0" presId="urn:microsoft.com/office/officeart/2005/8/layout/hierarchy1"/>
    <dgm:cxn modelId="{EDE1C8E2-C9A7-6143-9B42-BC0BEF0335B9}" type="presParOf" srcId="{4B7E7B93-31CC-5840-8702-6C0CA3BD077E}" destId="{F9606FAD-D539-A447-A940-2CB30AB64619}" srcOrd="1" destOrd="0" presId="urn:microsoft.com/office/officeart/2005/8/layout/hierarchy1"/>
    <dgm:cxn modelId="{E73D86C9-34EB-A04A-9BAC-A8B260B825DC}" type="presParOf" srcId="{F9606FAD-D539-A447-A940-2CB30AB64619}" destId="{FD32F9C7-07AF-3D42-9E0F-2EBFB7829570}" srcOrd="0" destOrd="0" presId="urn:microsoft.com/office/officeart/2005/8/layout/hierarchy1"/>
    <dgm:cxn modelId="{0217E07E-EEB4-DB43-9E50-164D9B3E38D5}" type="presParOf" srcId="{F9606FAD-D539-A447-A940-2CB30AB64619}" destId="{51AC780E-3967-D74B-842C-945621982A89}" srcOrd="1" destOrd="0" presId="urn:microsoft.com/office/officeart/2005/8/layout/hierarchy1"/>
    <dgm:cxn modelId="{5F204158-3F63-474E-A72B-0B159F548CBB}" type="presParOf" srcId="{51AC780E-3967-D74B-842C-945621982A89}" destId="{FE80BE97-98BD-E24A-9A72-DFDEC017ECAF}" srcOrd="0" destOrd="0" presId="urn:microsoft.com/office/officeart/2005/8/layout/hierarchy1"/>
    <dgm:cxn modelId="{8590EB09-E7F4-DF41-AFCB-9CF9C870AE36}" type="presParOf" srcId="{FE80BE97-98BD-E24A-9A72-DFDEC017ECAF}" destId="{177DC40E-1496-4A4C-B562-EB6EBAC5338C}" srcOrd="0" destOrd="0" presId="urn:microsoft.com/office/officeart/2005/8/layout/hierarchy1"/>
    <dgm:cxn modelId="{17833A7A-D2F7-F948-8159-73805C6D64F5}" type="presParOf" srcId="{FE80BE97-98BD-E24A-9A72-DFDEC017ECAF}" destId="{53B3F96C-C904-404A-BF61-5F98455C0B14}" srcOrd="1" destOrd="0" presId="urn:microsoft.com/office/officeart/2005/8/layout/hierarchy1"/>
    <dgm:cxn modelId="{8A19120B-167F-144E-922D-EBB5B1B5F517}" type="presParOf" srcId="{51AC780E-3967-D74B-842C-945621982A89}" destId="{908250D4-FEF3-EE46-9F0D-3F42D93D89A9}" srcOrd="1" destOrd="0" presId="urn:microsoft.com/office/officeart/2005/8/layout/hierarchy1"/>
    <dgm:cxn modelId="{1D98DE33-4074-0848-99CF-3E5A99D99194}" type="presParOf" srcId="{908250D4-FEF3-EE46-9F0D-3F42D93D89A9}" destId="{CF3C4B9B-8DB0-3E4B-A177-95260D83C563}" srcOrd="0" destOrd="0" presId="urn:microsoft.com/office/officeart/2005/8/layout/hierarchy1"/>
    <dgm:cxn modelId="{F5DA92CB-4E4B-AF4C-8437-6B2CD078631F}" type="presParOf" srcId="{908250D4-FEF3-EE46-9F0D-3F42D93D89A9}" destId="{04D098D1-98AA-9E48-9A60-23685FA8BB6F}" srcOrd="1" destOrd="0" presId="urn:microsoft.com/office/officeart/2005/8/layout/hierarchy1"/>
    <dgm:cxn modelId="{69FA48DB-F6C3-8343-B5A5-25F5C235371C}" type="presParOf" srcId="{04D098D1-98AA-9E48-9A60-23685FA8BB6F}" destId="{5CDAA628-C813-5B4C-9A31-C36E7CBBE025}" srcOrd="0" destOrd="0" presId="urn:microsoft.com/office/officeart/2005/8/layout/hierarchy1"/>
    <dgm:cxn modelId="{2AFF4C57-A644-4A40-8D3B-646BB1D7AAB7}" type="presParOf" srcId="{5CDAA628-C813-5B4C-9A31-C36E7CBBE025}" destId="{F7481B29-7796-F146-BE3F-78E8CB05B603}" srcOrd="0" destOrd="0" presId="urn:microsoft.com/office/officeart/2005/8/layout/hierarchy1"/>
    <dgm:cxn modelId="{6DE789A8-027D-A74B-B671-BC3BC45741F3}" type="presParOf" srcId="{5CDAA628-C813-5B4C-9A31-C36E7CBBE025}" destId="{1E9C73AA-0016-EB48-9E72-C2AFAD9CA538}" srcOrd="1" destOrd="0" presId="urn:microsoft.com/office/officeart/2005/8/layout/hierarchy1"/>
    <dgm:cxn modelId="{9CA22E0F-E0E6-6840-8DDB-86B40C42A2B2}" type="presParOf" srcId="{04D098D1-98AA-9E48-9A60-23685FA8BB6F}" destId="{EA63D7C2-9A32-A149-8373-AE869E1469C9}" srcOrd="1" destOrd="0" presId="urn:microsoft.com/office/officeart/2005/8/layout/hierarchy1"/>
    <dgm:cxn modelId="{008C663F-B359-AD48-A5A7-5CF81A6619B7}" type="presParOf" srcId="{F9606FAD-D539-A447-A940-2CB30AB64619}" destId="{82C44139-7AAB-F546-A68D-44E38DB60EB5}" srcOrd="2" destOrd="0" presId="urn:microsoft.com/office/officeart/2005/8/layout/hierarchy1"/>
    <dgm:cxn modelId="{443CCC9B-4FF8-414E-BF4B-B469AD3FBCE6}" type="presParOf" srcId="{F9606FAD-D539-A447-A940-2CB30AB64619}" destId="{E512ACA8-3C73-9B4C-8ADA-93ED0838F5FB}" srcOrd="3" destOrd="0" presId="urn:microsoft.com/office/officeart/2005/8/layout/hierarchy1"/>
    <dgm:cxn modelId="{D635F22C-FD29-4F45-9112-2615CFAD5F5B}" type="presParOf" srcId="{E512ACA8-3C73-9B4C-8ADA-93ED0838F5FB}" destId="{791AE83A-0603-B64C-90A3-47F7F440EB5B}" srcOrd="0" destOrd="0" presId="urn:microsoft.com/office/officeart/2005/8/layout/hierarchy1"/>
    <dgm:cxn modelId="{5A3D0A89-F76E-D14D-ACAD-0B90EF855DED}" type="presParOf" srcId="{791AE83A-0603-B64C-90A3-47F7F440EB5B}" destId="{6CA0E149-28C4-8D4E-B78E-8888184821B3}" srcOrd="0" destOrd="0" presId="urn:microsoft.com/office/officeart/2005/8/layout/hierarchy1"/>
    <dgm:cxn modelId="{34AA9793-90C2-EE48-AABE-36C5BFCAE5BB}" type="presParOf" srcId="{791AE83A-0603-B64C-90A3-47F7F440EB5B}" destId="{C9954678-F190-F144-ABF8-12B59B6918CE}" srcOrd="1" destOrd="0" presId="urn:microsoft.com/office/officeart/2005/8/layout/hierarchy1"/>
    <dgm:cxn modelId="{3F015F9B-75EF-D041-8422-31CB7BA07A3C}" type="presParOf" srcId="{E512ACA8-3C73-9B4C-8ADA-93ED0838F5FB}" destId="{ADEE4767-5396-404B-AA14-2958E6EE7A2E}" srcOrd="1" destOrd="0" presId="urn:microsoft.com/office/officeart/2005/8/layout/hierarchy1"/>
    <dgm:cxn modelId="{A7C51744-D585-304F-AF7B-D6600E6CD570}" type="presParOf" srcId="{ADEE4767-5396-404B-AA14-2958E6EE7A2E}" destId="{186D812F-4519-B440-95B4-55AACBEF76B9}" srcOrd="0" destOrd="0" presId="urn:microsoft.com/office/officeart/2005/8/layout/hierarchy1"/>
    <dgm:cxn modelId="{AB122B19-3346-2F47-A2F7-4B552604D245}" type="presParOf" srcId="{ADEE4767-5396-404B-AA14-2958E6EE7A2E}" destId="{6C566720-65EC-8448-9D1C-8C4896FF7898}" srcOrd="1" destOrd="0" presId="urn:microsoft.com/office/officeart/2005/8/layout/hierarchy1"/>
    <dgm:cxn modelId="{515B8DBF-FACD-DD47-8F48-956BCB8A5F1B}" type="presParOf" srcId="{6C566720-65EC-8448-9D1C-8C4896FF7898}" destId="{8FADCE67-90CC-9146-94B9-F77C07DBA2A2}" srcOrd="0" destOrd="0" presId="urn:microsoft.com/office/officeart/2005/8/layout/hierarchy1"/>
    <dgm:cxn modelId="{28F178CC-2E2C-B749-A343-E4C216B7B13C}" type="presParOf" srcId="{8FADCE67-90CC-9146-94B9-F77C07DBA2A2}" destId="{2CE18776-9550-4445-8614-798DE1EAA783}" srcOrd="0" destOrd="0" presId="urn:microsoft.com/office/officeart/2005/8/layout/hierarchy1"/>
    <dgm:cxn modelId="{7A796542-4EF2-B444-92F4-FC77F85BF40C}" type="presParOf" srcId="{8FADCE67-90CC-9146-94B9-F77C07DBA2A2}" destId="{44BBC7A3-AA56-2E43-A046-5DF2F116679C}" srcOrd="1" destOrd="0" presId="urn:microsoft.com/office/officeart/2005/8/layout/hierarchy1"/>
    <dgm:cxn modelId="{D4D872D3-E17F-6944-A6B4-968DDBAAC51D}" type="presParOf" srcId="{6C566720-65EC-8448-9D1C-8C4896FF7898}" destId="{B78863AB-229E-1144-BA05-84D4FAC96F60}" srcOrd="1" destOrd="0" presId="urn:microsoft.com/office/officeart/2005/8/layout/hierarchy1"/>
    <dgm:cxn modelId="{0DB7134C-121F-C14C-ABB8-08646C0B9988}" type="presParOf" srcId="{F9606FAD-D539-A447-A940-2CB30AB64619}" destId="{89CE658C-BCA2-6C40-95D9-2F05F0D7BF07}" srcOrd="4" destOrd="0" presId="urn:microsoft.com/office/officeart/2005/8/layout/hierarchy1"/>
    <dgm:cxn modelId="{A3E9E862-577B-5B44-8D20-161721628AFE}" type="presParOf" srcId="{F9606FAD-D539-A447-A940-2CB30AB64619}" destId="{6BBA511C-C884-FF4A-BC65-2FB1B2C266BF}" srcOrd="5" destOrd="0" presId="urn:microsoft.com/office/officeart/2005/8/layout/hierarchy1"/>
    <dgm:cxn modelId="{24851270-A8E8-EB43-9F6F-747A13C1CA7F}" type="presParOf" srcId="{6BBA511C-C884-FF4A-BC65-2FB1B2C266BF}" destId="{62E074CF-327E-5E49-8747-3D9617EC09DF}" srcOrd="0" destOrd="0" presId="urn:microsoft.com/office/officeart/2005/8/layout/hierarchy1"/>
    <dgm:cxn modelId="{C1AB53E4-5EF8-D549-8B90-B705CFCA6709}" type="presParOf" srcId="{62E074CF-327E-5E49-8747-3D9617EC09DF}" destId="{E26BCDDD-13F7-2147-94FC-6BA294219A0B}" srcOrd="0" destOrd="0" presId="urn:microsoft.com/office/officeart/2005/8/layout/hierarchy1"/>
    <dgm:cxn modelId="{B35A2F25-DB1C-D646-A592-7D3FD0869FD8}" type="presParOf" srcId="{62E074CF-327E-5E49-8747-3D9617EC09DF}" destId="{B42408B2-D114-0843-92AB-080506B0B582}" srcOrd="1" destOrd="0" presId="urn:microsoft.com/office/officeart/2005/8/layout/hierarchy1"/>
    <dgm:cxn modelId="{C03E5579-6384-014F-BB45-1F6D79225450}" type="presParOf" srcId="{6BBA511C-C884-FF4A-BC65-2FB1B2C266BF}" destId="{B9615D5C-FA11-1648-9873-A85E1B48CFF7}" srcOrd="1" destOrd="0" presId="urn:microsoft.com/office/officeart/2005/8/layout/hierarchy1"/>
    <dgm:cxn modelId="{E85DFC16-B67B-3F46-96CD-A07E9BE70268}" type="presParOf" srcId="{B9615D5C-FA11-1648-9873-A85E1B48CFF7}" destId="{AC34D835-3480-D741-8B53-2E89B6AF0165}" srcOrd="0" destOrd="0" presId="urn:microsoft.com/office/officeart/2005/8/layout/hierarchy1"/>
    <dgm:cxn modelId="{41C2BA82-E361-C44C-96BA-286E99E84030}" type="presParOf" srcId="{B9615D5C-FA11-1648-9873-A85E1B48CFF7}" destId="{8AE37E56-8B1B-214A-9E05-DD620B059479}" srcOrd="1" destOrd="0" presId="urn:microsoft.com/office/officeart/2005/8/layout/hierarchy1"/>
    <dgm:cxn modelId="{169B0A31-6DE4-0F40-80A6-714B731734E7}" type="presParOf" srcId="{8AE37E56-8B1B-214A-9E05-DD620B059479}" destId="{71A4733C-DF89-EE43-8741-B05406DE0D6D}" srcOrd="0" destOrd="0" presId="urn:microsoft.com/office/officeart/2005/8/layout/hierarchy1"/>
    <dgm:cxn modelId="{A056DCE2-AE5B-6F46-9F69-92FD2775FEFC}" type="presParOf" srcId="{71A4733C-DF89-EE43-8741-B05406DE0D6D}" destId="{B6BEB7C9-81B6-1E45-B011-D0CA0B10B080}" srcOrd="0" destOrd="0" presId="urn:microsoft.com/office/officeart/2005/8/layout/hierarchy1"/>
    <dgm:cxn modelId="{CD391580-0674-9C45-A3D7-C4E57D9C71D4}" type="presParOf" srcId="{71A4733C-DF89-EE43-8741-B05406DE0D6D}" destId="{6C317D4F-E3BB-EE4E-980E-81B4CEFFB593}" srcOrd="1" destOrd="0" presId="urn:microsoft.com/office/officeart/2005/8/layout/hierarchy1"/>
    <dgm:cxn modelId="{F33C329F-392E-194C-8E25-BEF23F12AE3C}" type="presParOf" srcId="{8AE37E56-8B1B-214A-9E05-DD620B059479}" destId="{DCD1DA88-E940-E64C-B4C9-3B4F0D6D7AC8}" srcOrd="1" destOrd="0" presId="urn:microsoft.com/office/officeart/2005/8/layout/hierarchy1"/>
    <dgm:cxn modelId="{EE60CD98-D8F4-C048-AC0F-FC2D9E61C0FC}" type="presParOf" srcId="{F9606FAD-D539-A447-A940-2CB30AB64619}" destId="{26C117DC-9B14-834A-86C1-2C80790F60A4}" srcOrd="6" destOrd="0" presId="urn:microsoft.com/office/officeart/2005/8/layout/hierarchy1"/>
    <dgm:cxn modelId="{3EB2259E-41FE-DF44-ACC4-4884880043D5}" type="presParOf" srcId="{F9606FAD-D539-A447-A940-2CB30AB64619}" destId="{C7222415-9FE9-8549-B5E6-F41DF4F2F5E4}" srcOrd="7" destOrd="0" presId="urn:microsoft.com/office/officeart/2005/8/layout/hierarchy1"/>
    <dgm:cxn modelId="{172A6CE4-D62F-D040-9D39-937108D391C4}" type="presParOf" srcId="{C7222415-9FE9-8549-B5E6-F41DF4F2F5E4}" destId="{4031BDA6-723D-3B42-8CF7-2C7B6CED8029}" srcOrd="0" destOrd="0" presId="urn:microsoft.com/office/officeart/2005/8/layout/hierarchy1"/>
    <dgm:cxn modelId="{6E6C0749-6D61-4D42-9EB9-9EAA6D020A78}" type="presParOf" srcId="{4031BDA6-723D-3B42-8CF7-2C7B6CED8029}" destId="{216E6E6D-AA81-5C46-B14E-AC2DBBE964B2}" srcOrd="0" destOrd="0" presId="urn:microsoft.com/office/officeart/2005/8/layout/hierarchy1"/>
    <dgm:cxn modelId="{654D4EA2-C880-CD4C-A249-936C84DAB633}" type="presParOf" srcId="{4031BDA6-723D-3B42-8CF7-2C7B6CED8029}" destId="{3A12F5DA-2885-454B-9255-64056A28CC9C}" srcOrd="1" destOrd="0" presId="urn:microsoft.com/office/officeart/2005/8/layout/hierarchy1"/>
    <dgm:cxn modelId="{8F9BE538-F744-8F40-AD26-28BD4A61F01E}" type="presParOf" srcId="{C7222415-9FE9-8549-B5E6-F41DF4F2F5E4}" destId="{02B6197D-5635-FA4B-8158-A0FB9CB7347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D38B4B-39E9-1A4C-A005-A7EC027D35F4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68568D22-E8B8-BE4B-8E3F-2D37D009554C}">
      <dgm:prSet/>
      <dgm:spPr>
        <a:solidFill>
          <a:srgbClr val="FF6600"/>
        </a:solidFill>
      </dgm:spPr>
      <dgm:t>
        <a:bodyPr/>
        <a:lstStyle/>
        <a:p>
          <a:pPr rtl="0"/>
          <a:r>
            <a:rPr lang="es-ES_tradnl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RCERA DEMORA</a:t>
          </a:r>
          <a:endParaRPr lang="es-ES_tradnl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10999B-5672-1F4F-8C79-5F3F50DD125E}" type="parTrans" cxnId="{9DCD19F2-1D36-F247-AEE1-8F3F333AD917}">
      <dgm:prSet/>
      <dgm:spPr/>
      <dgm:t>
        <a:bodyPr/>
        <a:lstStyle/>
        <a:p>
          <a:endParaRPr lang="es-ES_tradnl"/>
        </a:p>
      </dgm:t>
    </dgm:pt>
    <dgm:pt modelId="{96A63682-9522-234C-9AF2-B6CC5BB1DE40}" type="sibTrans" cxnId="{9DCD19F2-1D36-F247-AEE1-8F3F333AD917}">
      <dgm:prSet/>
      <dgm:spPr/>
      <dgm:t>
        <a:bodyPr/>
        <a:lstStyle/>
        <a:p>
          <a:endParaRPr lang="es-ES_tradnl"/>
        </a:p>
      </dgm:t>
    </dgm:pt>
    <dgm:pt modelId="{7F99DDEA-BEE8-7347-88AB-C818208450CC}">
      <dgm:prSet/>
      <dgm:spPr/>
      <dgm:t>
        <a:bodyPr/>
        <a:lstStyle/>
        <a:p>
          <a:r>
            <a:rPr lang="es-ES_tradnl" dirty="0" smtClean="0"/>
            <a:t>Retardo en recibir un tratamiento adecuado</a:t>
          </a:r>
          <a:endParaRPr lang="es-ES_tradnl" dirty="0"/>
        </a:p>
      </dgm:t>
    </dgm:pt>
    <dgm:pt modelId="{25330196-D904-DF4F-8EC3-02F8F5C830BC}" type="parTrans" cxnId="{03689545-3AC8-3545-A987-23AF7FCA93A2}">
      <dgm:prSet/>
      <dgm:spPr/>
      <dgm:t>
        <a:bodyPr/>
        <a:lstStyle/>
        <a:p>
          <a:endParaRPr lang="es-ES_tradnl"/>
        </a:p>
      </dgm:t>
    </dgm:pt>
    <dgm:pt modelId="{45E22DAF-A536-DD42-AA53-E063C50A291F}" type="sibTrans" cxnId="{03689545-3AC8-3545-A987-23AF7FCA93A2}">
      <dgm:prSet/>
      <dgm:spPr/>
      <dgm:t>
        <a:bodyPr/>
        <a:lstStyle/>
        <a:p>
          <a:endParaRPr lang="es-ES_tradnl"/>
        </a:p>
      </dgm:t>
    </dgm:pt>
    <dgm:pt modelId="{46129304-1B6A-3E4C-AA7E-56DD7FCD6A90}" type="pres">
      <dgm:prSet presAssocID="{64D38B4B-39E9-1A4C-A005-A7EC027D35F4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C91D098-E6D7-2548-9BBA-4FABB032EDED}" type="pres">
      <dgm:prSet presAssocID="{68568D22-E8B8-BE4B-8E3F-2D37D009554C}" presName="composite" presStyleCnt="0"/>
      <dgm:spPr/>
    </dgm:pt>
    <dgm:pt modelId="{155E3A84-0C60-A647-BE97-D8477688FC73}" type="pres">
      <dgm:prSet presAssocID="{68568D22-E8B8-BE4B-8E3F-2D37D009554C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E5373-5F4C-0B46-BA7A-A2843B2F648C}" type="pres">
      <dgm:prSet presAssocID="{68568D22-E8B8-BE4B-8E3F-2D37D009554C}" presName="parSh" presStyleLbl="node1" presStyleIdx="0" presStyleCnt="1"/>
      <dgm:spPr/>
      <dgm:t>
        <a:bodyPr/>
        <a:lstStyle/>
        <a:p>
          <a:endParaRPr lang="en-US"/>
        </a:p>
      </dgm:t>
    </dgm:pt>
    <dgm:pt modelId="{88FBDB00-2A84-6C4B-982B-10D30C075ABF}" type="pres">
      <dgm:prSet presAssocID="{68568D22-E8B8-BE4B-8E3F-2D37D009554C}" presName="desTx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641E28-AAC5-6641-8DFA-FD5A06AD5F60}" type="presOf" srcId="{68568D22-E8B8-BE4B-8E3F-2D37D009554C}" destId="{25AE5373-5F4C-0B46-BA7A-A2843B2F648C}" srcOrd="1" destOrd="0" presId="urn:microsoft.com/office/officeart/2005/8/layout/process3"/>
    <dgm:cxn modelId="{EEA34B1C-787E-944C-A1A7-F1B69630158D}" type="presOf" srcId="{64D38B4B-39E9-1A4C-A005-A7EC027D35F4}" destId="{46129304-1B6A-3E4C-AA7E-56DD7FCD6A90}" srcOrd="0" destOrd="0" presId="urn:microsoft.com/office/officeart/2005/8/layout/process3"/>
    <dgm:cxn modelId="{9DCD19F2-1D36-F247-AEE1-8F3F333AD917}" srcId="{64D38B4B-39E9-1A4C-A005-A7EC027D35F4}" destId="{68568D22-E8B8-BE4B-8E3F-2D37D009554C}" srcOrd="0" destOrd="0" parTransId="{6410999B-5672-1F4F-8C79-5F3F50DD125E}" sibTransId="{96A63682-9522-234C-9AF2-B6CC5BB1DE40}"/>
    <dgm:cxn modelId="{03689545-3AC8-3545-A987-23AF7FCA93A2}" srcId="{68568D22-E8B8-BE4B-8E3F-2D37D009554C}" destId="{7F99DDEA-BEE8-7347-88AB-C818208450CC}" srcOrd="0" destOrd="0" parTransId="{25330196-D904-DF4F-8EC3-02F8F5C830BC}" sibTransId="{45E22DAF-A536-DD42-AA53-E063C50A291F}"/>
    <dgm:cxn modelId="{FA823FBD-3D9D-A349-87C1-1EBF37E16D84}" type="presOf" srcId="{7F99DDEA-BEE8-7347-88AB-C818208450CC}" destId="{88FBDB00-2A84-6C4B-982B-10D30C075ABF}" srcOrd="0" destOrd="0" presId="urn:microsoft.com/office/officeart/2005/8/layout/process3"/>
    <dgm:cxn modelId="{572F7490-1C5F-E64B-B6AE-027B61F6BBAD}" type="presOf" srcId="{68568D22-E8B8-BE4B-8E3F-2D37D009554C}" destId="{155E3A84-0C60-A647-BE97-D8477688FC73}" srcOrd="0" destOrd="0" presId="urn:microsoft.com/office/officeart/2005/8/layout/process3"/>
    <dgm:cxn modelId="{17BA7F1E-3157-ED46-939A-2DF0A087CBC1}" type="presParOf" srcId="{46129304-1B6A-3E4C-AA7E-56DD7FCD6A90}" destId="{5C91D098-E6D7-2548-9BBA-4FABB032EDED}" srcOrd="0" destOrd="0" presId="urn:microsoft.com/office/officeart/2005/8/layout/process3"/>
    <dgm:cxn modelId="{63A712B1-13D8-064C-AB9C-96F8E8749E0E}" type="presParOf" srcId="{5C91D098-E6D7-2548-9BBA-4FABB032EDED}" destId="{155E3A84-0C60-A647-BE97-D8477688FC73}" srcOrd="0" destOrd="0" presId="urn:microsoft.com/office/officeart/2005/8/layout/process3"/>
    <dgm:cxn modelId="{D9F2EAF2-AC1B-D842-ABAF-C6E118903C29}" type="presParOf" srcId="{5C91D098-E6D7-2548-9BBA-4FABB032EDED}" destId="{25AE5373-5F4C-0B46-BA7A-A2843B2F648C}" srcOrd="1" destOrd="0" presId="urn:microsoft.com/office/officeart/2005/8/layout/process3"/>
    <dgm:cxn modelId="{20096135-7342-484B-B954-E9F698919E44}" type="presParOf" srcId="{5C91D098-E6D7-2548-9BBA-4FABB032EDED}" destId="{88FBDB00-2A84-6C4B-982B-10D30C075AB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45EAEDC-01C9-5C41-88EE-FEE28A979D17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70E301F0-208C-D149-9EC2-003A44D0398F}">
      <dgm:prSet phldrT="[Texto]"/>
      <dgm:spPr>
        <a:solidFill>
          <a:srgbClr val="FF6600"/>
        </a:solidFill>
      </dgm:spPr>
      <dgm:t>
        <a:bodyPr/>
        <a:lstStyle/>
        <a:p>
          <a:r>
            <a:rPr lang="es-ES_tradnl" dirty="0" smtClean="0"/>
            <a:t>Red de atención para Urgencias Obstétricas Intersectorial </a:t>
          </a:r>
          <a:endParaRPr lang="es-ES_tradnl" dirty="0"/>
        </a:p>
      </dgm:t>
    </dgm:pt>
    <dgm:pt modelId="{B3B57829-1D83-1F4A-AB93-0AC0146D80C8}" type="parTrans" cxnId="{E77C91D1-8935-DE47-A4E4-7E4DE3C42944}">
      <dgm:prSet/>
      <dgm:spPr/>
      <dgm:t>
        <a:bodyPr/>
        <a:lstStyle/>
        <a:p>
          <a:endParaRPr lang="es-ES_tradnl"/>
        </a:p>
      </dgm:t>
    </dgm:pt>
    <dgm:pt modelId="{FCE36F86-48B9-A140-8587-F933513243F3}" type="sibTrans" cxnId="{E77C91D1-8935-DE47-A4E4-7E4DE3C42944}">
      <dgm:prSet/>
      <dgm:spPr/>
      <dgm:t>
        <a:bodyPr/>
        <a:lstStyle/>
        <a:p>
          <a:endParaRPr lang="es-ES_tradnl"/>
        </a:p>
      </dgm:t>
    </dgm:pt>
    <dgm:pt modelId="{35412944-238C-E747-9518-70DA47ED1012}">
      <dgm:prSet phldrT="[Texto]"/>
      <dgm:spPr/>
      <dgm:t>
        <a:bodyPr/>
        <a:lstStyle/>
        <a:p>
          <a:r>
            <a:rPr lang="es-ES_tradnl" dirty="0" smtClean="0"/>
            <a:t>Desarrollar competencias técnicas en el personal de salud</a:t>
          </a:r>
          <a:endParaRPr lang="es-ES_tradnl" dirty="0"/>
        </a:p>
      </dgm:t>
    </dgm:pt>
    <dgm:pt modelId="{2FB2CAC7-FDD2-C34F-9BE5-06952C843B8F}" type="parTrans" cxnId="{A9158967-2FE0-EF45-9342-6778838C188B}">
      <dgm:prSet/>
      <dgm:spPr/>
      <dgm:t>
        <a:bodyPr/>
        <a:lstStyle/>
        <a:p>
          <a:endParaRPr lang="es-ES_tradnl"/>
        </a:p>
      </dgm:t>
    </dgm:pt>
    <dgm:pt modelId="{B76077FA-87E4-DF40-B22C-6FAB6EA6F137}" type="sibTrans" cxnId="{A9158967-2FE0-EF45-9342-6778838C188B}">
      <dgm:prSet/>
      <dgm:spPr/>
      <dgm:t>
        <a:bodyPr/>
        <a:lstStyle/>
        <a:p>
          <a:endParaRPr lang="es-ES_tradnl"/>
        </a:p>
      </dgm:t>
    </dgm:pt>
    <dgm:pt modelId="{B0B59BF8-C64F-564E-BB0C-0008332FC2B5}" type="pres">
      <dgm:prSet presAssocID="{C45EAEDC-01C9-5C41-88EE-FEE28A979D1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BA73EA2-211C-1C44-A2B6-B94A25F877B1}" type="pres">
      <dgm:prSet presAssocID="{70E301F0-208C-D149-9EC2-003A44D0398F}" presName="composite" presStyleCnt="0"/>
      <dgm:spPr/>
    </dgm:pt>
    <dgm:pt modelId="{7DB433E3-B512-CD49-9AB4-418614C60F9A}" type="pres">
      <dgm:prSet presAssocID="{70E301F0-208C-D149-9EC2-003A44D0398F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6B9BA8-2D16-354D-8489-B96CE871EF46}" type="pres">
      <dgm:prSet presAssocID="{70E301F0-208C-D149-9EC2-003A44D0398F}" presName="parSh" presStyleLbl="node1" presStyleIdx="0" presStyleCnt="1" custLinFactNeighborY="13464"/>
      <dgm:spPr/>
      <dgm:t>
        <a:bodyPr/>
        <a:lstStyle/>
        <a:p>
          <a:endParaRPr lang="en-US"/>
        </a:p>
      </dgm:t>
    </dgm:pt>
    <dgm:pt modelId="{CAECEDB5-2497-7F44-B655-B9065F4796CD}" type="pres">
      <dgm:prSet presAssocID="{70E301F0-208C-D149-9EC2-003A44D0398F}" presName="desTx" presStyleLbl="fgAcc1" presStyleIdx="0" presStyleCnt="1" custScaleX="83526" custLinFactNeighborX="-9396" custLinFactNeighborY="7876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6E6DB1D5-BC36-8A4B-9905-D40EEFDE65AB}" type="presOf" srcId="{70E301F0-208C-D149-9EC2-003A44D0398F}" destId="{7DB433E3-B512-CD49-9AB4-418614C60F9A}" srcOrd="0" destOrd="0" presId="urn:microsoft.com/office/officeart/2005/8/layout/process3"/>
    <dgm:cxn modelId="{D8930DC4-745E-B646-9A6E-714DF6C59F07}" type="presOf" srcId="{70E301F0-208C-D149-9EC2-003A44D0398F}" destId="{7E6B9BA8-2D16-354D-8489-B96CE871EF46}" srcOrd="1" destOrd="0" presId="urn:microsoft.com/office/officeart/2005/8/layout/process3"/>
    <dgm:cxn modelId="{DC460843-284F-9C48-860C-C05DA14D0BDF}" type="presOf" srcId="{35412944-238C-E747-9518-70DA47ED1012}" destId="{CAECEDB5-2497-7F44-B655-B9065F4796CD}" srcOrd="0" destOrd="0" presId="urn:microsoft.com/office/officeart/2005/8/layout/process3"/>
    <dgm:cxn modelId="{E77C91D1-8935-DE47-A4E4-7E4DE3C42944}" srcId="{C45EAEDC-01C9-5C41-88EE-FEE28A979D17}" destId="{70E301F0-208C-D149-9EC2-003A44D0398F}" srcOrd="0" destOrd="0" parTransId="{B3B57829-1D83-1F4A-AB93-0AC0146D80C8}" sibTransId="{FCE36F86-48B9-A140-8587-F933513243F3}"/>
    <dgm:cxn modelId="{A9158967-2FE0-EF45-9342-6778838C188B}" srcId="{70E301F0-208C-D149-9EC2-003A44D0398F}" destId="{35412944-238C-E747-9518-70DA47ED1012}" srcOrd="0" destOrd="0" parTransId="{2FB2CAC7-FDD2-C34F-9BE5-06952C843B8F}" sibTransId="{B76077FA-87E4-DF40-B22C-6FAB6EA6F137}"/>
    <dgm:cxn modelId="{7A14701E-C6D1-F042-A8FF-C2A59ACDFED2}" type="presOf" srcId="{C45EAEDC-01C9-5C41-88EE-FEE28A979D17}" destId="{B0B59BF8-C64F-564E-BB0C-0008332FC2B5}" srcOrd="0" destOrd="0" presId="urn:microsoft.com/office/officeart/2005/8/layout/process3"/>
    <dgm:cxn modelId="{B527EF56-76C6-A148-A571-0F1A4732F943}" type="presParOf" srcId="{B0B59BF8-C64F-564E-BB0C-0008332FC2B5}" destId="{0BA73EA2-211C-1C44-A2B6-B94A25F877B1}" srcOrd="0" destOrd="0" presId="urn:microsoft.com/office/officeart/2005/8/layout/process3"/>
    <dgm:cxn modelId="{A36D6433-4D14-0E42-BE52-C182FF02630A}" type="presParOf" srcId="{0BA73EA2-211C-1C44-A2B6-B94A25F877B1}" destId="{7DB433E3-B512-CD49-9AB4-418614C60F9A}" srcOrd="0" destOrd="0" presId="urn:microsoft.com/office/officeart/2005/8/layout/process3"/>
    <dgm:cxn modelId="{3EEB3F68-249D-1B40-884E-F0742ABABA58}" type="presParOf" srcId="{0BA73EA2-211C-1C44-A2B6-B94A25F877B1}" destId="{7E6B9BA8-2D16-354D-8489-B96CE871EF46}" srcOrd="1" destOrd="0" presId="urn:microsoft.com/office/officeart/2005/8/layout/process3"/>
    <dgm:cxn modelId="{2571CD66-0ED0-1948-B542-64D206428856}" type="presParOf" srcId="{0BA73EA2-211C-1C44-A2B6-B94A25F877B1}" destId="{CAECEDB5-2497-7F44-B655-B9065F4796CD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45EAEDC-01C9-5C41-88EE-FEE28A979D17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70E301F0-208C-D149-9EC2-003A44D0398F}">
      <dgm:prSet phldrT="[Texto]"/>
      <dgm:spPr>
        <a:solidFill>
          <a:srgbClr val="FF6600"/>
        </a:solidFill>
      </dgm:spPr>
      <dgm:t>
        <a:bodyPr/>
        <a:lstStyle/>
        <a:p>
          <a:r>
            <a:rPr lang="es-ES_tradnl" dirty="0" smtClean="0"/>
            <a:t>Universalizar la atención del embarazo, parto y puerperio </a:t>
          </a:r>
          <a:endParaRPr lang="es-ES_tradnl" dirty="0"/>
        </a:p>
      </dgm:t>
    </dgm:pt>
    <dgm:pt modelId="{B3B57829-1D83-1F4A-AB93-0AC0146D80C8}" type="parTrans" cxnId="{E77C91D1-8935-DE47-A4E4-7E4DE3C42944}">
      <dgm:prSet/>
      <dgm:spPr/>
      <dgm:t>
        <a:bodyPr/>
        <a:lstStyle/>
        <a:p>
          <a:endParaRPr lang="es-ES_tradnl"/>
        </a:p>
      </dgm:t>
    </dgm:pt>
    <dgm:pt modelId="{FCE36F86-48B9-A140-8587-F933513243F3}" type="sibTrans" cxnId="{E77C91D1-8935-DE47-A4E4-7E4DE3C42944}">
      <dgm:prSet/>
      <dgm:spPr/>
      <dgm:t>
        <a:bodyPr/>
        <a:lstStyle/>
        <a:p>
          <a:endParaRPr lang="es-ES_tradnl"/>
        </a:p>
      </dgm:t>
    </dgm:pt>
    <dgm:pt modelId="{35412944-238C-E747-9518-70DA47ED1012}">
      <dgm:prSet phldrT="[Texto]"/>
      <dgm:spPr/>
      <dgm:t>
        <a:bodyPr/>
        <a:lstStyle/>
        <a:p>
          <a:r>
            <a:rPr lang="es-ES_tradnl" dirty="0" smtClean="0"/>
            <a:t>Garantizar accesibilidad para la atención del embarazo, parto y puerperio</a:t>
          </a:r>
          <a:endParaRPr lang="es-ES_tradnl" dirty="0"/>
        </a:p>
      </dgm:t>
    </dgm:pt>
    <dgm:pt modelId="{2FB2CAC7-FDD2-C34F-9BE5-06952C843B8F}" type="parTrans" cxnId="{A9158967-2FE0-EF45-9342-6778838C188B}">
      <dgm:prSet/>
      <dgm:spPr/>
      <dgm:t>
        <a:bodyPr/>
        <a:lstStyle/>
        <a:p>
          <a:endParaRPr lang="es-ES_tradnl"/>
        </a:p>
      </dgm:t>
    </dgm:pt>
    <dgm:pt modelId="{B76077FA-87E4-DF40-B22C-6FAB6EA6F137}" type="sibTrans" cxnId="{A9158967-2FE0-EF45-9342-6778838C188B}">
      <dgm:prSet/>
      <dgm:spPr/>
      <dgm:t>
        <a:bodyPr/>
        <a:lstStyle/>
        <a:p>
          <a:endParaRPr lang="es-ES_tradnl"/>
        </a:p>
      </dgm:t>
    </dgm:pt>
    <dgm:pt modelId="{B0B59BF8-C64F-564E-BB0C-0008332FC2B5}" type="pres">
      <dgm:prSet presAssocID="{C45EAEDC-01C9-5C41-88EE-FEE28A979D1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BA73EA2-211C-1C44-A2B6-B94A25F877B1}" type="pres">
      <dgm:prSet presAssocID="{70E301F0-208C-D149-9EC2-003A44D0398F}" presName="composite" presStyleCnt="0"/>
      <dgm:spPr/>
    </dgm:pt>
    <dgm:pt modelId="{7DB433E3-B512-CD49-9AB4-418614C60F9A}" type="pres">
      <dgm:prSet presAssocID="{70E301F0-208C-D149-9EC2-003A44D0398F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7E6B9BA8-2D16-354D-8489-B96CE871EF46}" type="pres">
      <dgm:prSet presAssocID="{70E301F0-208C-D149-9EC2-003A44D0398F}" presName="parSh" presStyleLbl="node1" presStyleIdx="0" presStyleCnt="1" custLinFactNeighborX="692" custLinFactNeighborY="4735"/>
      <dgm:spPr/>
      <dgm:t>
        <a:bodyPr/>
        <a:lstStyle/>
        <a:p>
          <a:endParaRPr lang="es-ES_tradnl"/>
        </a:p>
      </dgm:t>
    </dgm:pt>
    <dgm:pt modelId="{CAECEDB5-2497-7F44-B655-B9065F4796CD}" type="pres">
      <dgm:prSet presAssocID="{70E301F0-208C-D149-9EC2-003A44D0398F}" presName="desTx" presStyleLbl="fgAcc1" presStyleIdx="0" presStyleCnt="1" custScaleX="86924" custLinFactNeighborX="-11293" custLinFactNeighborY="1715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896A1C5D-EECB-4846-B2EF-854BCC4EF3D9}" type="presOf" srcId="{35412944-238C-E747-9518-70DA47ED1012}" destId="{CAECEDB5-2497-7F44-B655-B9065F4796CD}" srcOrd="0" destOrd="0" presId="urn:microsoft.com/office/officeart/2005/8/layout/process3"/>
    <dgm:cxn modelId="{D4A9DCC5-E773-E743-B50E-95B23C5ACB55}" type="presOf" srcId="{C45EAEDC-01C9-5C41-88EE-FEE28A979D17}" destId="{B0B59BF8-C64F-564E-BB0C-0008332FC2B5}" srcOrd="0" destOrd="0" presId="urn:microsoft.com/office/officeart/2005/8/layout/process3"/>
    <dgm:cxn modelId="{CF5CF2E8-0E4C-7145-B08B-7D92BD4DA643}" type="presOf" srcId="{70E301F0-208C-D149-9EC2-003A44D0398F}" destId="{7DB433E3-B512-CD49-9AB4-418614C60F9A}" srcOrd="0" destOrd="0" presId="urn:microsoft.com/office/officeart/2005/8/layout/process3"/>
    <dgm:cxn modelId="{E77C91D1-8935-DE47-A4E4-7E4DE3C42944}" srcId="{C45EAEDC-01C9-5C41-88EE-FEE28A979D17}" destId="{70E301F0-208C-D149-9EC2-003A44D0398F}" srcOrd="0" destOrd="0" parTransId="{B3B57829-1D83-1F4A-AB93-0AC0146D80C8}" sibTransId="{FCE36F86-48B9-A140-8587-F933513243F3}"/>
    <dgm:cxn modelId="{755C78E1-A131-BF44-9A1A-3185F671187A}" type="presOf" srcId="{70E301F0-208C-D149-9EC2-003A44D0398F}" destId="{7E6B9BA8-2D16-354D-8489-B96CE871EF46}" srcOrd="1" destOrd="0" presId="urn:microsoft.com/office/officeart/2005/8/layout/process3"/>
    <dgm:cxn modelId="{A9158967-2FE0-EF45-9342-6778838C188B}" srcId="{70E301F0-208C-D149-9EC2-003A44D0398F}" destId="{35412944-238C-E747-9518-70DA47ED1012}" srcOrd="0" destOrd="0" parTransId="{2FB2CAC7-FDD2-C34F-9BE5-06952C843B8F}" sibTransId="{B76077FA-87E4-DF40-B22C-6FAB6EA6F137}"/>
    <dgm:cxn modelId="{DB57868D-25DE-3945-AE80-F8E0BCCCAA20}" type="presParOf" srcId="{B0B59BF8-C64F-564E-BB0C-0008332FC2B5}" destId="{0BA73EA2-211C-1C44-A2B6-B94A25F877B1}" srcOrd="0" destOrd="0" presId="urn:microsoft.com/office/officeart/2005/8/layout/process3"/>
    <dgm:cxn modelId="{791F17F7-0A83-2643-8512-30EA19F97781}" type="presParOf" srcId="{0BA73EA2-211C-1C44-A2B6-B94A25F877B1}" destId="{7DB433E3-B512-CD49-9AB4-418614C60F9A}" srcOrd="0" destOrd="0" presId="urn:microsoft.com/office/officeart/2005/8/layout/process3"/>
    <dgm:cxn modelId="{C60EA84F-991A-EE4C-B6B8-119E28BF0FBA}" type="presParOf" srcId="{0BA73EA2-211C-1C44-A2B6-B94A25F877B1}" destId="{7E6B9BA8-2D16-354D-8489-B96CE871EF46}" srcOrd="1" destOrd="0" presId="urn:microsoft.com/office/officeart/2005/8/layout/process3"/>
    <dgm:cxn modelId="{00598FEC-F1AF-C744-B0A6-A5C805BB677B}" type="presParOf" srcId="{0BA73EA2-211C-1C44-A2B6-B94A25F877B1}" destId="{CAECEDB5-2497-7F44-B655-B9065F4796CD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45EAEDC-01C9-5C41-88EE-FEE28A979D17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70E301F0-208C-D149-9EC2-003A44D0398F}">
      <dgm:prSet phldrT="[Texto]" custT="1"/>
      <dgm:spPr>
        <a:solidFill>
          <a:srgbClr val="FF6600"/>
        </a:solidFill>
      </dgm:spPr>
      <dgm:t>
        <a:bodyPr/>
        <a:lstStyle/>
        <a:p>
          <a:r>
            <a:rPr lang="es-ES_tradnl" sz="1400" dirty="0" smtClean="0"/>
            <a:t>Información oportuna y adecuada en la </a:t>
          </a:r>
          <a:r>
            <a:rPr lang="es-ES_tradnl" sz="1400" dirty="0" smtClean="0"/>
            <a:t>comunidad</a:t>
          </a:r>
          <a:endParaRPr lang="es-ES_tradnl" sz="1400" dirty="0"/>
        </a:p>
      </dgm:t>
    </dgm:pt>
    <dgm:pt modelId="{B3B57829-1D83-1F4A-AB93-0AC0146D80C8}" type="parTrans" cxnId="{E77C91D1-8935-DE47-A4E4-7E4DE3C42944}">
      <dgm:prSet/>
      <dgm:spPr/>
      <dgm:t>
        <a:bodyPr/>
        <a:lstStyle/>
        <a:p>
          <a:endParaRPr lang="es-ES_tradnl"/>
        </a:p>
      </dgm:t>
    </dgm:pt>
    <dgm:pt modelId="{FCE36F86-48B9-A140-8587-F933513243F3}" type="sibTrans" cxnId="{E77C91D1-8935-DE47-A4E4-7E4DE3C42944}">
      <dgm:prSet/>
      <dgm:spPr/>
      <dgm:t>
        <a:bodyPr/>
        <a:lstStyle/>
        <a:p>
          <a:endParaRPr lang="es-ES_tradnl"/>
        </a:p>
      </dgm:t>
    </dgm:pt>
    <dgm:pt modelId="{35412944-238C-E747-9518-70DA47ED1012}">
      <dgm:prSet phldrT="[Texto]" custT="1"/>
      <dgm:spPr/>
      <dgm:t>
        <a:bodyPr/>
        <a:lstStyle/>
        <a:p>
          <a:r>
            <a:rPr lang="es-ES_tradnl" sz="1400" dirty="0" smtClean="0"/>
            <a:t>Fortalecer las acciones de Planificación Familiar </a:t>
          </a:r>
          <a:endParaRPr lang="es-ES_tradnl" sz="1400" dirty="0"/>
        </a:p>
      </dgm:t>
    </dgm:pt>
    <dgm:pt modelId="{2FB2CAC7-FDD2-C34F-9BE5-06952C843B8F}" type="parTrans" cxnId="{A9158967-2FE0-EF45-9342-6778838C188B}">
      <dgm:prSet/>
      <dgm:spPr/>
      <dgm:t>
        <a:bodyPr/>
        <a:lstStyle/>
        <a:p>
          <a:endParaRPr lang="es-ES_tradnl"/>
        </a:p>
      </dgm:t>
    </dgm:pt>
    <dgm:pt modelId="{B76077FA-87E4-DF40-B22C-6FAB6EA6F137}" type="sibTrans" cxnId="{A9158967-2FE0-EF45-9342-6778838C188B}">
      <dgm:prSet/>
      <dgm:spPr/>
      <dgm:t>
        <a:bodyPr/>
        <a:lstStyle/>
        <a:p>
          <a:endParaRPr lang="es-ES_tradnl"/>
        </a:p>
      </dgm:t>
    </dgm:pt>
    <dgm:pt modelId="{B0B59BF8-C64F-564E-BB0C-0008332FC2B5}" type="pres">
      <dgm:prSet presAssocID="{C45EAEDC-01C9-5C41-88EE-FEE28A979D1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BA73EA2-211C-1C44-A2B6-B94A25F877B1}" type="pres">
      <dgm:prSet presAssocID="{70E301F0-208C-D149-9EC2-003A44D0398F}" presName="composite" presStyleCnt="0"/>
      <dgm:spPr/>
    </dgm:pt>
    <dgm:pt modelId="{7DB433E3-B512-CD49-9AB4-418614C60F9A}" type="pres">
      <dgm:prSet presAssocID="{70E301F0-208C-D149-9EC2-003A44D0398F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6B9BA8-2D16-354D-8489-B96CE871EF46}" type="pres">
      <dgm:prSet presAssocID="{70E301F0-208C-D149-9EC2-003A44D0398F}" presName="parSh" presStyleLbl="node1" presStyleIdx="0" presStyleCnt="1" custAng="10800000" custFlipVert="1" custScaleX="132175" custScaleY="100000" custLinFactNeighborX="-2208" custLinFactNeighborY="-7886"/>
      <dgm:spPr/>
      <dgm:t>
        <a:bodyPr/>
        <a:lstStyle/>
        <a:p>
          <a:endParaRPr lang="en-US"/>
        </a:p>
      </dgm:t>
    </dgm:pt>
    <dgm:pt modelId="{CAECEDB5-2497-7F44-B655-B9065F4796CD}" type="pres">
      <dgm:prSet presAssocID="{70E301F0-208C-D149-9EC2-003A44D0398F}" presName="desTx" presStyleLbl="fgAcc1" presStyleIdx="0" presStyleCnt="1" custScaleX="125146" custScaleY="83878" custLinFactNeighborX="-15292" custLinFactNeighborY="23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5679ACB-2B2B-B649-92C1-DDF68141BF72}" type="presOf" srcId="{70E301F0-208C-D149-9EC2-003A44D0398F}" destId="{7E6B9BA8-2D16-354D-8489-B96CE871EF46}" srcOrd="1" destOrd="0" presId="urn:microsoft.com/office/officeart/2005/8/layout/process3"/>
    <dgm:cxn modelId="{53EA78B1-8493-5240-8E9B-8F9E2530B034}" type="presOf" srcId="{70E301F0-208C-D149-9EC2-003A44D0398F}" destId="{7DB433E3-B512-CD49-9AB4-418614C60F9A}" srcOrd="0" destOrd="0" presId="urn:microsoft.com/office/officeart/2005/8/layout/process3"/>
    <dgm:cxn modelId="{4A74FED4-67F1-384F-A4D0-FCEA674DD778}" type="presOf" srcId="{35412944-238C-E747-9518-70DA47ED1012}" destId="{CAECEDB5-2497-7F44-B655-B9065F4796CD}" srcOrd="0" destOrd="0" presId="urn:microsoft.com/office/officeart/2005/8/layout/process3"/>
    <dgm:cxn modelId="{E77C91D1-8935-DE47-A4E4-7E4DE3C42944}" srcId="{C45EAEDC-01C9-5C41-88EE-FEE28A979D17}" destId="{70E301F0-208C-D149-9EC2-003A44D0398F}" srcOrd="0" destOrd="0" parTransId="{B3B57829-1D83-1F4A-AB93-0AC0146D80C8}" sibTransId="{FCE36F86-48B9-A140-8587-F933513243F3}"/>
    <dgm:cxn modelId="{8B4140E2-EBB0-DF4D-9009-56B7208E52BE}" type="presOf" srcId="{C45EAEDC-01C9-5C41-88EE-FEE28A979D17}" destId="{B0B59BF8-C64F-564E-BB0C-0008332FC2B5}" srcOrd="0" destOrd="0" presId="urn:microsoft.com/office/officeart/2005/8/layout/process3"/>
    <dgm:cxn modelId="{A9158967-2FE0-EF45-9342-6778838C188B}" srcId="{70E301F0-208C-D149-9EC2-003A44D0398F}" destId="{35412944-238C-E747-9518-70DA47ED1012}" srcOrd="0" destOrd="0" parTransId="{2FB2CAC7-FDD2-C34F-9BE5-06952C843B8F}" sibTransId="{B76077FA-87E4-DF40-B22C-6FAB6EA6F137}"/>
    <dgm:cxn modelId="{9D684B6B-C5E4-6541-B8DF-07AA195B4178}" type="presParOf" srcId="{B0B59BF8-C64F-564E-BB0C-0008332FC2B5}" destId="{0BA73EA2-211C-1C44-A2B6-B94A25F877B1}" srcOrd="0" destOrd="0" presId="urn:microsoft.com/office/officeart/2005/8/layout/process3"/>
    <dgm:cxn modelId="{1203DB9C-EC94-6D4C-800D-D38F7861B564}" type="presParOf" srcId="{0BA73EA2-211C-1C44-A2B6-B94A25F877B1}" destId="{7DB433E3-B512-CD49-9AB4-418614C60F9A}" srcOrd="0" destOrd="0" presId="urn:microsoft.com/office/officeart/2005/8/layout/process3"/>
    <dgm:cxn modelId="{57F8F273-D6BA-9F4C-981E-CE2AF9973477}" type="presParOf" srcId="{0BA73EA2-211C-1C44-A2B6-B94A25F877B1}" destId="{7E6B9BA8-2D16-354D-8489-B96CE871EF46}" srcOrd="1" destOrd="0" presId="urn:microsoft.com/office/officeart/2005/8/layout/process3"/>
    <dgm:cxn modelId="{551C3049-A9C6-0E4A-9C54-A0457E0083A5}" type="presParOf" srcId="{0BA73EA2-211C-1C44-A2B6-B94A25F877B1}" destId="{CAECEDB5-2497-7F44-B655-B9065F4796CD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2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4D38B4B-39E9-1A4C-A005-A7EC027D35F4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68568D22-E8B8-BE4B-8E3F-2D37D009554C}">
      <dgm:prSet custT="1"/>
      <dgm:spPr>
        <a:solidFill>
          <a:srgbClr val="FF6600"/>
        </a:solidFill>
      </dgm:spPr>
      <dgm:t>
        <a:bodyPr/>
        <a:lstStyle/>
        <a:p>
          <a:pPr rtl="0"/>
          <a:r>
            <a:rPr lang="es-ES_tradnl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GUNDA DEMORA</a:t>
          </a:r>
          <a:endParaRPr lang="es-ES_tradnl" sz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10999B-5672-1F4F-8C79-5F3F50DD125E}" type="parTrans" cxnId="{9DCD19F2-1D36-F247-AEE1-8F3F333AD917}">
      <dgm:prSet/>
      <dgm:spPr/>
      <dgm:t>
        <a:bodyPr/>
        <a:lstStyle/>
        <a:p>
          <a:endParaRPr lang="es-ES_tradnl"/>
        </a:p>
      </dgm:t>
    </dgm:pt>
    <dgm:pt modelId="{96A63682-9522-234C-9AF2-B6CC5BB1DE40}" type="sibTrans" cxnId="{9DCD19F2-1D36-F247-AEE1-8F3F333AD917}">
      <dgm:prSet/>
      <dgm:spPr/>
      <dgm:t>
        <a:bodyPr/>
        <a:lstStyle/>
        <a:p>
          <a:endParaRPr lang="es-ES_tradnl"/>
        </a:p>
      </dgm:t>
    </dgm:pt>
    <dgm:pt modelId="{5F6BD990-FD0C-A743-A4EA-29C8F12D2CCB}">
      <dgm:prSet/>
      <dgm:spPr/>
      <dgm:t>
        <a:bodyPr/>
        <a:lstStyle/>
        <a:p>
          <a:r>
            <a:rPr lang="es-ES_tradnl" dirty="0" smtClean="0"/>
            <a:t>Retardo en llegar a un establecimiento adecuado</a:t>
          </a:r>
          <a:endParaRPr lang="es-ES_tradnl" dirty="0"/>
        </a:p>
      </dgm:t>
    </dgm:pt>
    <dgm:pt modelId="{479F66E6-0F66-924C-AD2E-7BDE89309F6A}" type="parTrans" cxnId="{0CCB55FD-107A-F74A-B5AE-DBD492747060}">
      <dgm:prSet/>
      <dgm:spPr/>
      <dgm:t>
        <a:bodyPr/>
        <a:lstStyle/>
        <a:p>
          <a:endParaRPr lang="es-ES_tradnl"/>
        </a:p>
      </dgm:t>
    </dgm:pt>
    <dgm:pt modelId="{6C8D1BFF-D87D-E040-AAE3-93EAE22C30B3}" type="sibTrans" cxnId="{0CCB55FD-107A-F74A-B5AE-DBD492747060}">
      <dgm:prSet/>
      <dgm:spPr/>
      <dgm:t>
        <a:bodyPr/>
        <a:lstStyle/>
        <a:p>
          <a:endParaRPr lang="es-ES_tradnl"/>
        </a:p>
      </dgm:t>
    </dgm:pt>
    <dgm:pt modelId="{46129304-1B6A-3E4C-AA7E-56DD7FCD6A90}" type="pres">
      <dgm:prSet presAssocID="{64D38B4B-39E9-1A4C-A005-A7EC027D35F4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C91D098-E6D7-2548-9BBA-4FABB032EDED}" type="pres">
      <dgm:prSet presAssocID="{68568D22-E8B8-BE4B-8E3F-2D37D009554C}" presName="composite" presStyleCnt="0"/>
      <dgm:spPr/>
    </dgm:pt>
    <dgm:pt modelId="{155E3A84-0C60-A647-BE97-D8477688FC73}" type="pres">
      <dgm:prSet presAssocID="{68568D22-E8B8-BE4B-8E3F-2D37D009554C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E5373-5F4C-0B46-BA7A-A2843B2F648C}" type="pres">
      <dgm:prSet presAssocID="{68568D22-E8B8-BE4B-8E3F-2D37D009554C}" presName="parSh" presStyleLbl="node1" presStyleIdx="0" presStyleCnt="1" custScaleX="118158" custScaleY="72536" custLinFactNeighborX="5571" custLinFactNeighborY="-5331"/>
      <dgm:spPr/>
      <dgm:t>
        <a:bodyPr/>
        <a:lstStyle/>
        <a:p>
          <a:endParaRPr lang="en-US"/>
        </a:p>
      </dgm:t>
    </dgm:pt>
    <dgm:pt modelId="{88FBDB00-2A84-6C4B-982B-10D30C075ABF}" type="pres">
      <dgm:prSet presAssocID="{68568D22-E8B8-BE4B-8E3F-2D37D009554C}" presName="desTx" presStyleLbl="fgAcc1" presStyleIdx="0" presStyleCnt="1" custLinFactNeighborX="17" custLinFactNeighborY="74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F0B4F9-F2E4-4B42-BE50-AD59943B9232}" type="presOf" srcId="{68568D22-E8B8-BE4B-8E3F-2D37D009554C}" destId="{25AE5373-5F4C-0B46-BA7A-A2843B2F648C}" srcOrd="1" destOrd="0" presId="urn:microsoft.com/office/officeart/2005/8/layout/process3"/>
    <dgm:cxn modelId="{728B3B7B-E5E4-C243-A4F2-243F0704E414}" type="presOf" srcId="{68568D22-E8B8-BE4B-8E3F-2D37D009554C}" destId="{155E3A84-0C60-A647-BE97-D8477688FC73}" srcOrd="0" destOrd="0" presId="urn:microsoft.com/office/officeart/2005/8/layout/process3"/>
    <dgm:cxn modelId="{9DCD19F2-1D36-F247-AEE1-8F3F333AD917}" srcId="{64D38B4B-39E9-1A4C-A005-A7EC027D35F4}" destId="{68568D22-E8B8-BE4B-8E3F-2D37D009554C}" srcOrd="0" destOrd="0" parTransId="{6410999B-5672-1F4F-8C79-5F3F50DD125E}" sibTransId="{96A63682-9522-234C-9AF2-B6CC5BB1DE40}"/>
    <dgm:cxn modelId="{221080C4-4CCB-5A46-A3C2-34565D866F12}" type="presOf" srcId="{64D38B4B-39E9-1A4C-A005-A7EC027D35F4}" destId="{46129304-1B6A-3E4C-AA7E-56DD7FCD6A90}" srcOrd="0" destOrd="0" presId="urn:microsoft.com/office/officeart/2005/8/layout/process3"/>
    <dgm:cxn modelId="{D7F75045-F722-BE40-BACB-4E8C80AB9D37}" type="presOf" srcId="{5F6BD990-FD0C-A743-A4EA-29C8F12D2CCB}" destId="{88FBDB00-2A84-6C4B-982B-10D30C075ABF}" srcOrd="0" destOrd="0" presId="urn:microsoft.com/office/officeart/2005/8/layout/process3"/>
    <dgm:cxn modelId="{0CCB55FD-107A-F74A-B5AE-DBD492747060}" srcId="{68568D22-E8B8-BE4B-8E3F-2D37D009554C}" destId="{5F6BD990-FD0C-A743-A4EA-29C8F12D2CCB}" srcOrd="0" destOrd="0" parTransId="{479F66E6-0F66-924C-AD2E-7BDE89309F6A}" sibTransId="{6C8D1BFF-D87D-E040-AAE3-93EAE22C30B3}"/>
    <dgm:cxn modelId="{D9DA71E7-EF1E-F846-9CAD-27D40A911381}" type="presParOf" srcId="{46129304-1B6A-3E4C-AA7E-56DD7FCD6A90}" destId="{5C91D098-E6D7-2548-9BBA-4FABB032EDED}" srcOrd="0" destOrd="0" presId="urn:microsoft.com/office/officeart/2005/8/layout/process3"/>
    <dgm:cxn modelId="{AC3BECE6-55DA-CB44-A7B0-3A920AD4D9DB}" type="presParOf" srcId="{5C91D098-E6D7-2548-9BBA-4FABB032EDED}" destId="{155E3A84-0C60-A647-BE97-D8477688FC73}" srcOrd="0" destOrd="0" presId="urn:microsoft.com/office/officeart/2005/8/layout/process3"/>
    <dgm:cxn modelId="{A1FCD372-19FB-F346-9734-B41820CCD855}" type="presParOf" srcId="{5C91D098-E6D7-2548-9BBA-4FABB032EDED}" destId="{25AE5373-5F4C-0B46-BA7A-A2843B2F648C}" srcOrd="1" destOrd="0" presId="urn:microsoft.com/office/officeart/2005/8/layout/process3"/>
    <dgm:cxn modelId="{123FA738-2FF2-1649-8563-439FDC1E8F51}" type="presParOf" srcId="{5C91D098-E6D7-2548-9BBA-4FABB032EDED}" destId="{88FBDB00-2A84-6C4B-982B-10D30C075AB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2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4D38B4B-39E9-1A4C-A005-A7EC027D35F4}" type="doc">
      <dgm:prSet loTypeId="urn:microsoft.com/office/officeart/2005/8/layout/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_tradnl"/>
        </a:p>
      </dgm:t>
    </dgm:pt>
    <dgm:pt modelId="{68568D22-E8B8-BE4B-8E3F-2D37D009554C}">
      <dgm:prSet custT="1"/>
      <dgm:spPr>
        <a:solidFill>
          <a:srgbClr val="FF6600"/>
        </a:solidFill>
      </dgm:spPr>
      <dgm:t>
        <a:bodyPr/>
        <a:lstStyle/>
        <a:p>
          <a:pPr rtl="0"/>
          <a:r>
            <a:rPr lang="es-ES_tradnl" sz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IMERA DEMORA</a:t>
          </a:r>
          <a:endParaRPr lang="es-ES_tradnl" sz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410999B-5672-1F4F-8C79-5F3F50DD125E}" type="parTrans" cxnId="{9DCD19F2-1D36-F247-AEE1-8F3F333AD917}">
      <dgm:prSet/>
      <dgm:spPr/>
      <dgm:t>
        <a:bodyPr/>
        <a:lstStyle/>
        <a:p>
          <a:endParaRPr lang="es-ES_tradnl"/>
        </a:p>
      </dgm:t>
    </dgm:pt>
    <dgm:pt modelId="{96A63682-9522-234C-9AF2-B6CC5BB1DE40}" type="sibTrans" cxnId="{9DCD19F2-1D36-F247-AEE1-8F3F333AD917}">
      <dgm:prSet/>
      <dgm:spPr/>
      <dgm:t>
        <a:bodyPr/>
        <a:lstStyle/>
        <a:p>
          <a:endParaRPr lang="es-ES_tradnl"/>
        </a:p>
      </dgm:t>
    </dgm:pt>
    <dgm:pt modelId="{FCC7F579-6B5D-874B-AD52-BE4509DF30C0}">
      <dgm:prSet/>
      <dgm:spPr/>
      <dgm:t>
        <a:bodyPr/>
        <a:lstStyle/>
        <a:p>
          <a:r>
            <a:rPr lang="es-ES_tradnl" dirty="0" smtClean="0"/>
            <a:t>Retardo en tomar la decisión de buscar atención </a:t>
          </a:r>
          <a:endParaRPr lang="es-ES_tradnl" dirty="0"/>
        </a:p>
      </dgm:t>
    </dgm:pt>
    <dgm:pt modelId="{3AE2FCF2-0F26-6D40-8185-AE2D88581008}" type="parTrans" cxnId="{0416A5A9-2D95-6A46-A455-446E861410F8}">
      <dgm:prSet/>
      <dgm:spPr/>
      <dgm:t>
        <a:bodyPr/>
        <a:lstStyle/>
        <a:p>
          <a:endParaRPr lang="en-US"/>
        </a:p>
      </dgm:t>
    </dgm:pt>
    <dgm:pt modelId="{31302E59-3151-9E46-82D1-2931F9AE6295}" type="sibTrans" cxnId="{0416A5A9-2D95-6A46-A455-446E861410F8}">
      <dgm:prSet/>
      <dgm:spPr/>
      <dgm:t>
        <a:bodyPr/>
        <a:lstStyle/>
        <a:p>
          <a:endParaRPr lang="en-US"/>
        </a:p>
      </dgm:t>
    </dgm:pt>
    <dgm:pt modelId="{46129304-1B6A-3E4C-AA7E-56DD7FCD6A90}" type="pres">
      <dgm:prSet presAssocID="{64D38B4B-39E9-1A4C-A005-A7EC027D35F4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C91D098-E6D7-2548-9BBA-4FABB032EDED}" type="pres">
      <dgm:prSet presAssocID="{68568D22-E8B8-BE4B-8E3F-2D37D009554C}" presName="composite" presStyleCnt="0"/>
      <dgm:spPr/>
    </dgm:pt>
    <dgm:pt modelId="{155E3A84-0C60-A647-BE97-D8477688FC73}" type="pres">
      <dgm:prSet presAssocID="{68568D22-E8B8-BE4B-8E3F-2D37D009554C}" presName="parTx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AE5373-5F4C-0B46-BA7A-A2843B2F648C}" type="pres">
      <dgm:prSet presAssocID="{68568D22-E8B8-BE4B-8E3F-2D37D009554C}" presName="parSh" presStyleLbl="node1" presStyleIdx="0" presStyleCnt="1" custLinFactNeighborY="-3023"/>
      <dgm:spPr/>
      <dgm:t>
        <a:bodyPr/>
        <a:lstStyle/>
        <a:p>
          <a:endParaRPr lang="en-US"/>
        </a:p>
      </dgm:t>
    </dgm:pt>
    <dgm:pt modelId="{88FBDB00-2A84-6C4B-982B-10D30C075ABF}" type="pres">
      <dgm:prSet presAssocID="{68568D22-E8B8-BE4B-8E3F-2D37D009554C}" presName="desTx" presStyleLbl="fgAcc1" presStyleIdx="0" presStyleCnt="1" custScaleY="935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F50967E-482F-4B47-97D6-6E501D89E531}" type="presOf" srcId="{68568D22-E8B8-BE4B-8E3F-2D37D009554C}" destId="{25AE5373-5F4C-0B46-BA7A-A2843B2F648C}" srcOrd="1" destOrd="0" presId="urn:microsoft.com/office/officeart/2005/8/layout/process3"/>
    <dgm:cxn modelId="{F67B66E5-09D6-3040-995C-13738CB66E9F}" type="presOf" srcId="{68568D22-E8B8-BE4B-8E3F-2D37D009554C}" destId="{155E3A84-0C60-A647-BE97-D8477688FC73}" srcOrd="0" destOrd="0" presId="urn:microsoft.com/office/officeart/2005/8/layout/process3"/>
    <dgm:cxn modelId="{0416A5A9-2D95-6A46-A455-446E861410F8}" srcId="{68568D22-E8B8-BE4B-8E3F-2D37D009554C}" destId="{FCC7F579-6B5D-874B-AD52-BE4509DF30C0}" srcOrd="0" destOrd="0" parTransId="{3AE2FCF2-0F26-6D40-8185-AE2D88581008}" sibTransId="{31302E59-3151-9E46-82D1-2931F9AE6295}"/>
    <dgm:cxn modelId="{9DCD19F2-1D36-F247-AEE1-8F3F333AD917}" srcId="{64D38B4B-39E9-1A4C-A005-A7EC027D35F4}" destId="{68568D22-E8B8-BE4B-8E3F-2D37D009554C}" srcOrd="0" destOrd="0" parTransId="{6410999B-5672-1F4F-8C79-5F3F50DD125E}" sibTransId="{96A63682-9522-234C-9AF2-B6CC5BB1DE40}"/>
    <dgm:cxn modelId="{D296C597-6840-164C-9341-9F4C9CAE27EA}" type="presOf" srcId="{FCC7F579-6B5D-874B-AD52-BE4509DF30C0}" destId="{88FBDB00-2A84-6C4B-982B-10D30C075ABF}" srcOrd="0" destOrd="0" presId="urn:microsoft.com/office/officeart/2005/8/layout/process3"/>
    <dgm:cxn modelId="{BC92231A-81DA-554D-ACC4-61D971869482}" type="presOf" srcId="{64D38B4B-39E9-1A4C-A005-A7EC027D35F4}" destId="{46129304-1B6A-3E4C-AA7E-56DD7FCD6A90}" srcOrd="0" destOrd="0" presId="urn:microsoft.com/office/officeart/2005/8/layout/process3"/>
    <dgm:cxn modelId="{E10BE809-D1B3-0046-AE1C-45407E75F20C}" type="presParOf" srcId="{46129304-1B6A-3E4C-AA7E-56DD7FCD6A90}" destId="{5C91D098-E6D7-2548-9BBA-4FABB032EDED}" srcOrd="0" destOrd="0" presId="urn:microsoft.com/office/officeart/2005/8/layout/process3"/>
    <dgm:cxn modelId="{96853D8D-B425-5D4C-B4FB-C4D5D353F86C}" type="presParOf" srcId="{5C91D098-E6D7-2548-9BBA-4FABB032EDED}" destId="{155E3A84-0C60-A647-BE97-D8477688FC73}" srcOrd="0" destOrd="0" presId="urn:microsoft.com/office/officeart/2005/8/layout/process3"/>
    <dgm:cxn modelId="{AA8AA4D8-DE23-3E47-B1A4-23D2AAA1AA08}" type="presParOf" srcId="{5C91D098-E6D7-2548-9BBA-4FABB032EDED}" destId="{25AE5373-5F4C-0B46-BA7A-A2843B2F648C}" srcOrd="1" destOrd="0" presId="urn:microsoft.com/office/officeart/2005/8/layout/process3"/>
    <dgm:cxn modelId="{805E469A-5793-D44C-B2BE-F32EAC2D2BCE}" type="presParOf" srcId="{5C91D098-E6D7-2548-9BBA-4FABB032EDED}" destId="{88FBDB00-2A84-6C4B-982B-10D30C075ABF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3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7AA88B0-9C22-4D2E-8D78-88268F4F8335}" type="doc">
      <dgm:prSet loTypeId="urn:microsoft.com/office/officeart/2005/8/layout/gear1" loCatId="cycle" qsTypeId="urn:microsoft.com/office/officeart/2005/8/quickstyle/simple1" qsCatId="simple" csTypeId="urn:microsoft.com/office/officeart/2005/8/colors/colorful5" csCatId="colorful" phldr="1"/>
      <dgm:spPr/>
    </dgm:pt>
    <dgm:pt modelId="{1C73FB97-552C-4085-B53F-E042D3CF73D8}">
      <dgm:prSet phldrT="[Text]"/>
      <dgm:spPr/>
      <dgm:t>
        <a:bodyPr/>
        <a:lstStyle/>
        <a:p>
          <a:r>
            <a:rPr lang="es-MX" b="1" dirty="0" smtClean="0"/>
            <a:t>Red de Atención Intersectorial </a:t>
          </a:r>
          <a:endParaRPr lang="en-US" b="1" dirty="0"/>
        </a:p>
      </dgm:t>
    </dgm:pt>
    <dgm:pt modelId="{F00552DA-3252-47F1-A807-B8DC175BC2A7}" type="parTrans" cxnId="{E5EEAEFC-9C10-4701-82C2-C62820B53146}">
      <dgm:prSet/>
      <dgm:spPr/>
      <dgm:t>
        <a:bodyPr/>
        <a:lstStyle/>
        <a:p>
          <a:endParaRPr lang="en-US"/>
        </a:p>
      </dgm:t>
    </dgm:pt>
    <dgm:pt modelId="{98DAC4ED-7FB6-4FDA-9AAF-73983EA833A7}" type="sibTrans" cxnId="{E5EEAEFC-9C10-4701-82C2-C62820B53146}">
      <dgm:prSet/>
      <dgm:spPr/>
      <dgm:t>
        <a:bodyPr/>
        <a:lstStyle/>
        <a:p>
          <a:endParaRPr lang="en-US"/>
        </a:p>
      </dgm:t>
    </dgm:pt>
    <dgm:pt modelId="{B074CB0F-BC85-4EC7-8BD5-42C52D2497DA}">
      <dgm:prSet phldrT="[Text]"/>
      <dgm:spPr/>
      <dgm:t>
        <a:bodyPr/>
        <a:lstStyle/>
        <a:p>
          <a:r>
            <a:rPr lang="es-MX" b="1" dirty="0" smtClean="0"/>
            <a:t>Universalizar la atención de  embarazo, parto y puerperio</a:t>
          </a:r>
          <a:endParaRPr lang="en-US" b="1" dirty="0"/>
        </a:p>
      </dgm:t>
    </dgm:pt>
    <dgm:pt modelId="{360B4FFF-82D0-441D-ACD2-A369BFD002EA}" type="parTrans" cxnId="{2DB730F9-0F90-410F-90BE-1779405C881D}">
      <dgm:prSet/>
      <dgm:spPr/>
      <dgm:t>
        <a:bodyPr/>
        <a:lstStyle/>
        <a:p>
          <a:endParaRPr lang="en-US"/>
        </a:p>
      </dgm:t>
    </dgm:pt>
    <dgm:pt modelId="{1F5D64F9-DC45-419D-8608-5E28F6AE92BA}" type="sibTrans" cxnId="{2DB730F9-0F90-410F-90BE-1779405C881D}">
      <dgm:prSet/>
      <dgm:spPr/>
      <dgm:t>
        <a:bodyPr/>
        <a:lstStyle/>
        <a:p>
          <a:endParaRPr lang="en-US"/>
        </a:p>
      </dgm:t>
    </dgm:pt>
    <dgm:pt modelId="{E5E9E533-D80D-48D1-8757-380E4D3B160F}">
      <dgm:prSet phldrT="[Text]"/>
      <dgm:spPr/>
      <dgm:t>
        <a:bodyPr/>
        <a:lstStyle/>
        <a:p>
          <a:r>
            <a:rPr lang="es-MX" b="1" dirty="0" smtClean="0"/>
            <a:t>Garantizar información oportuna y adecuada </a:t>
          </a:r>
          <a:endParaRPr lang="en-US" b="1" dirty="0"/>
        </a:p>
      </dgm:t>
    </dgm:pt>
    <dgm:pt modelId="{EFDBC35C-8F0C-4401-A8D1-8B88A9308BD4}" type="parTrans" cxnId="{0AB2E218-0B53-4814-BCB4-85C944A3CA36}">
      <dgm:prSet/>
      <dgm:spPr/>
      <dgm:t>
        <a:bodyPr/>
        <a:lstStyle/>
        <a:p>
          <a:endParaRPr lang="en-US"/>
        </a:p>
      </dgm:t>
    </dgm:pt>
    <dgm:pt modelId="{7353F73A-639E-4334-A78A-EC909D424455}" type="sibTrans" cxnId="{0AB2E218-0B53-4814-BCB4-85C944A3CA36}">
      <dgm:prSet/>
      <dgm:spPr/>
      <dgm:t>
        <a:bodyPr/>
        <a:lstStyle/>
        <a:p>
          <a:endParaRPr lang="en-US"/>
        </a:p>
      </dgm:t>
    </dgm:pt>
    <dgm:pt modelId="{27654F25-0D91-4FD3-A660-A68456E971CC}" type="pres">
      <dgm:prSet presAssocID="{C7AA88B0-9C22-4D2E-8D78-88268F4F8335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A1C749C-478A-453C-ADBF-89A21317D59B}" type="pres">
      <dgm:prSet presAssocID="{1C73FB97-552C-4085-B53F-E042D3CF73D8}" presName="gear1" presStyleLbl="node1" presStyleIdx="0" presStyleCnt="3" custLinFactNeighborX="9091" custLinFactNeighborY="-1467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4C704B-BE07-4DAC-A564-1918BEA30C6F}" type="pres">
      <dgm:prSet presAssocID="{1C73FB97-552C-4085-B53F-E042D3CF73D8}" presName="gear1srcNode" presStyleLbl="node1" presStyleIdx="0" presStyleCnt="3"/>
      <dgm:spPr/>
      <dgm:t>
        <a:bodyPr/>
        <a:lstStyle/>
        <a:p>
          <a:endParaRPr lang="es-ES_tradnl"/>
        </a:p>
      </dgm:t>
    </dgm:pt>
    <dgm:pt modelId="{356491A5-303E-4F83-8477-27D732F252C5}" type="pres">
      <dgm:prSet presAssocID="{1C73FB97-552C-4085-B53F-E042D3CF73D8}" presName="gear1dstNode" presStyleLbl="node1" presStyleIdx="0" presStyleCnt="3"/>
      <dgm:spPr/>
      <dgm:t>
        <a:bodyPr/>
        <a:lstStyle/>
        <a:p>
          <a:endParaRPr lang="es-ES_tradnl"/>
        </a:p>
      </dgm:t>
    </dgm:pt>
    <dgm:pt modelId="{059CD71B-DF78-41EF-AFCF-FCFFE5D216BB}" type="pres">
      <dgm:prSet presAssocID="{B074CB0F-BC85-4EC7-8BD5-42C52D2497DA}" presName="gear2" presStyleLbl="node1" presStyleIdx="1" presStyleCnt="3" custLinFactNeighborX="-2723" custLinFactNeighborY="-6718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42FED1B0-D124-4474-8D23-BB245AD65804}" type="pres">
      <dgm:prSet presAssocID="{B074CB0F-BC85-4EC7-8BD5-42C52D2497DA}" presName="gear2srcNode" presStyleLbl="node1" presStyleIdx="1" presStyleCnt="3"/>
      <dgm:spPr/>
      <dgm:t>
        <a:bodyPr/>
        <a:lstStyle/>
        <a:p>
          <a:endParaRPr lang="es-ES_tradnl"/>
        </a:p>
      </dgm:t>
    </dgm:pt>
    <dgm:pt modelId="{4DA29C94-0A0D-4EC8-A591-67D442920F10}" type="pres">
      <dgm:prSet presAssocID="{B074CB0F-BC85-4EC7-8BD5-42C52D2497DA}" presName="gear2dstNode" presStyleLbl="node1" presStyleIdx="1" presStyleCnt="3"/>
      <dgm:spPr/>
      <dgm:t>
        <a:bodyPr/>
        <a:lstStyle/>
        <a:p>
          <a:endParaRPr lang="es-ES_tradnl"/>
        </a:p>
      </dgm:t>
    </dgm:pt>
    <dgm:pt modelId="{8098FE7D-79C4-4189-BFF6-D0A32AF0313A}" type="pres">
      <dgm:prSet presAssocID="{E5E9E533-D80D-48D1-8757-380E4D3B160F}" presName="gear3" presStyleLbl="node1" presStyleIdx="2" presStyleCnt="3" custLinFactNeighborX="-1680" custLinFactNeighborY="-5588"/>
      <dgm:spPr/>
      <dgm:t>
        <a:bodyPr/>
        <a:lstStyle/>
        <a:p>
          <a:endParaRPr lang="es-ES_tradnl"/>
        </a:p>
      </dgm:t>
    </dgm:pt>
    <dgm:pt modelId="{9D6B6116-2FD2-4D3A-8A53-BA7DB1B203DB}" type="pres">
      <dgm:prSet presAssocID="{E5E9E533-D80D-48D1-8757-380E4D3B160F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BDB8DFD9-FC7F-4013-A6A4-535AE8698EDA}" type="pres">
      <dgm:prSet presAssocID="{E5E9E533-D80D-48D1-8757-380E4D3B160F}" presName="gear3srcNode" presStyleLbl="node1" presStyleIdx="2" presStyleCnt="3"/>
      <dgm:spPr/>
      <dgm:t>
        <a:bodyPr/>
        <a:lstStyle/>
        <a:p>
          <a:endParaRPr lang="es-ES_tradnl"/>
        </a:p>
      </dgm:t>
    </dgm:pt>
    <dgm:pt modelId="{15B171EA-FA76-4398-B07A-18F1C42D6E05}" type="pres">
      <dgm:prSet presAssocID="{E5E9E533-D80D-48D1-8757-380E4D3B160F}" presName="gear3dstNode" presStyleLbl="node1" presStyleIdx="2" presStyleCnt="3"/>
      <dgm:spPr/>
      <dgm:t>
        <a:bodyPr/>
        <a:lstStyle/>
        <a:p>
          <a:endParaRPr lang="es-ES_tradnl"/>
        </a:p>
      </dgm:t>
    </dgm:pt>
    <dgm:pt modelId="{4B9F444F-948C-4ECF-8F34-1584DB3074B3}" type="pres">
      <dgm:prSet presAssocID="{98DAC4ED-7FB6-4FDA-9AAF-73983EA833A7}" presName="connector1" presStyleLbl="sibTrans2D1" presStyleIdx="0" presStyleCnt="3" custAng="189716" custLinFactNeighborX="3954" custLinFactNeighborY="-30977"/>
      <dgm:spPr/>
      <dgm:t>
        <a:bodyPr/>
        <a:lstStyle/>
        <a:p>
          <a:endParaRPr lang="es-ES_tradnl"/>
        </a:p>
      </dgm:t>
    </dgm:pt>
    <dgm:pt modelId="{EF4EADB9-8287-4988-9261-F83C28FDC48D}" type="pres">
      <dgm:prSet presAssocID="{1F5D64F9-DC45-419D-8608-5E28F6AE92BA}" presName="connector2" presStyleLbl="sibTrans2D1" presStyleIdx="1" presStyleCnt="3" custAng="19125886" custLinFactNeighborX="-6444" custLinFactNeighborY="-22"/>
      <dgm:spPr/>
      <dgm:t>
        <a:bodyPr/>
        <a:lstStyle/>
        <a:p>
          <a:endParaRPr lang="es-ES_tradnl"/>
        </a:p>
      </dgm:t>
    </dgm:pt>
    <dgm:pt modelId="{E1C5CC2E-AA2F-48C3-ADC4-4653986EEDC5}" type="pres">
      <dgm:prSet presAssocID="{7353F73A-639E-4334-A78A-EC909D424455}" presName="connector3" presStyleLbl="sibTrans2D1" presStyleIdx="2" presStyleCnt="3" custAng="2342166"/>
      <dgm:spPr/>
      <dgm:t>
        <a:bodyPr/>
        <a:lstStyle/>
        <a:p>
          <a:endParaRPr lang="es-ES_tradnl"/>
        </a:p>
      </dgm:t>
    </dgm:pt>
  </dgm:ptLst>
  <dgm:cxnLst>
    <dgm:cxn modelId="{594501F0-CF8A-43EA-B84F-2B96D9E690C3}" type="presOf" srcId="{7353F73A-639E-4334-A78A-EC909D424455}" destId="{E1C5CC2E-AA2F-48C3-ADC4-4653986EEDC5}" srcOrd="0" destOrd="0" presId="urn:microsoft.com/office/officeart/2005/8/layout/gear1"/>
    <dgm:cxn modelId="{09D4FAE4-384D-4A85-AA5C-6F31A13AEF95}" type="presOf" srcId="{1C73FB97-552C-4085-B53F-E042D3CF73D8}" destId="{356491A5-303E-4F83-8477-27D732F252C5}" srcOrd="2" destOrd="0" presId="urn:microsoft.com/office/officeart/2005/8/layout/gear1"/>
    <dgm:cxn modelId="{3351883E-B368-43F8-B178-52D8ECC54989}" type="presOf" srcId="{C7AA88B0-9C22-4D2E-8D78-88268F4F8335}" destId="{27654F25-0D91-4FD3-A660-A68456E971CC}" srcOrd="0" destOrd="0" presId="urn:microsoft.com/office/officeart/2005/8/layout/gear1"/>
    <dgm:cxn modelId="{AB9411B2-8152-4C76-8040-9868DEA0A2BA}" type="presOf" srcId="{E5E9E533-D80D-48D1-8757-380E4D3B160F}" destId="{15B171EA-FA76-4398-B07A-18F1C42D6E05}" srcOrd="3" destOrd="0" presId="urn:microsoft.com/office/officeart/2005/8/layout/gear1"/>
    <dgm:cxn modelId="{07F50B63-FCD6-4A58-8920-3D5B9AF56078}" type="presOf" srcId="{E5E9E533-D80D-48D1-8757-380E4D3B160F}" destId="{9D6B6116-2FD2-4D3A-8A53-BA7DB1B203DB}" srcOrd="1" destOrd="0" presId="urn:microsoft.com/office/officeart/2005/8/layout/gear1"/>
    <dgm:cxn modelId="{C4C0C56A-A8D2-4B25-BE47-3F19AA3F40FB}" type="presOf" srcId="{E5E9E533-D80D-48D1-8757-380E4D3B160F}" destId="{8098FE7D-79C4-4189-BFF6-D0A32AF0313A}" srcOrd="0" destOrd="0" presId="urn:microsoft.com/office/officeart/2005/8/layout/gear1"/>
    <dgm:cxn modelId="{E5EEAEFC-9C10-4701-82C2-C62820B53146}" srcId="{C7AA88B0-9C22-4D2E-8D78-88268F4F8335}" destId="{1C73FB97-552C-4085-B53F-E042D3CF73D8}" srcOrd="0" destOrd="0" parTransId="{F00552DA-3252-47F1-A807-B8DC175BC2A7}" sibTransId="{98DAC4ED-7FB6-4FDA-9AAF-73983EA833A7}"/>
    <dgm:cxn modelId="{E784BAF5-367C-49C6-9126-402328739F96}" type="presOf" srcId="{1C73FB97-552C-4085-B53F-E042D3CF73D8}" destId="{7A1C749C-478A-453C-ADBF-89A21317D59B}" srcOrd="0" destOrd="0" presId="urn:microsoft.com/office/officeart/2005/8/layout/gear1"/>
    <dgm:cxn modelId="{328D2719-D121-48BD-8A87-1DD530478E30}" type="presOf" srcId="{E5E9E533-D80D-48D1-8757-380E4D3B160F}" destId="{BDB8DFD9-FC7F-4013-A6A4-535AE8698EDA}" srcOrd="2" destOrd="0" presId="urn:microsoft.com/office/officeart/2005/8/layout/gear1"/>
    <dgm:cxn modelId="{2AA47948-1424-490B-B4A3-D636FF43B4C7}" type="presOf" srcId="{98DAC4ED-7FB6-4FDA-9AAF-73983EA833A7}" destId="{4B9F444F-948C-4ECF-8F34-1584DB3074B3}" srcOrd="0" destOrd="0" presId="urn:microsoft.com/office/officeart/2005/8/layout/gear1"/>
    <dgm:cxn modelId="{010C76D6-58B5-4A3C-8071-B291C4EE73B1}" type="presOf" srcId="{B074CB0F-BC85-4EC7-8BD5-42C52D2497DA}" destId="{059CD71B-DF78-41EF-AFCF-FCFFE5D216BB}" srcOrd="0" destOrd="0" presId="urn:microsoft.com/office/officeart/2005/8/layout/gear1"/>
    <dgm:cxn modelId="{1F3AF775-815E-4E66-BE55-B15F0A7125AE}" type="presOf" srcId="{B074CB0F-BC85-4EC7-8BD5-42C52D2497DA}" destId="{42FED1B0-D124-4474-8D23-BB245AD65804}" srcOrd="1" destOrd="0" presId="urn:microsoft.com/office/officeart/2005/8/layout/gear1"/>
    <dgm:cxn modelId="{1586A5DE-CD78-49D2-AADE-523AB157B017}" type="presOf" srcId="{B074CB0F-BC85-4EC7-8BD5-42C52D2497DA}" destId="{4DA29C94-0A0D-4EC8-A591-67D442920F10}" srcOrd="2" destOrd="0" presId="urn:microsoft.com/office/officeart/2005/8/layout/gear1"/>
    <dgm:cxn modelId="{2DB730F9-0F90-410F-90BE-1779405C881D}" srcId="{C7AA88B0-9C22-4D2E-8D78-88268F4F8335}" destId="{B074CB0F-BC85-4EC7-8BD5-42C52D2497DA}" srcOrd="1" destOrd="0" parTransId="{360B4FFF-82D0-441D-ACD2-A369BFD002EA}" sibTransId="{1F5D64F9-DC45-419D-8608-5E28F6AE92BA}"/>
    <dgm:cxn modelId="{85353D1B-1377-4F20-BA63-50DB73D3FC9A}" type="presOf" srcId="{1C73FB97-552C-4085-B53F-E042D3CF73D8}" destId="{7D4C704B-BE07-4DAC-A564-1918BEA30C6F}" srcOrd="1" destOrd="0" presId="urn:microsoft.com/office/officeart/2005/8/layout/gear1"/>
    <dgm:cxn modelId="{0AB2E218-0B53-4814-BCB4-85C944A3CA36}" srcId="{C7AA88B0-9C22-4D2E-8D78-88268F4F8335}" destId="{E5E9E533-D80D-48D1-8757-380E4D3B160F}" srcOrd="2" destOrd="0" parTransId="{EFDBC35C-8F0C-4401-A8D1-8B88A9308BD4}" sibTransId="{7353F73A-639E-4334-A78A-EC909D424455}"/>
    <dgm:cxn modelId="{1DCDA81A-A539-473B-AAB2-0A73C6B72F9A}" type="presOf" srcId="{1F5D64F9-DC45-419D-8608-5E28F6AE92BA}" destId="{EF4EADB9-8287-4988-9261-F83C28FDC48D}" srcOrd="0" destOrd="0" presId="urn:microsoft.com/office/officeart/2005/8/layout/gear1"/>
    <dgm:cxn modelId="{A8565B01-BCC8-4715-B607-5A56C83FFD43}" type="presParOf" srcId="{27654F25-0D91-4FD3-A660-A68456E971CC}" destId="{7A1C749C-478A-453C-ADBF-89A21317D59B}" srcOrd="0" destOrd="0" presId="urn:microsoft.com/office/officeart/2005/8/layout/gear1"/>
    <dgm:cxn modelId="{7F47D024-ECBE-4F95-8F7E-125D617A50F9}" type="presParOf" srcId="{27654F25-0D91-4FD3-A660-A68456E971CC}" destId="{7D4C704B-BE07-4DAC-A564-1918BEA30C6F}" srcOrd="1" destOrd="0" presId="urn:microsoft.com/office/officeart/2005/8/layout/gear1"/>
    <dgm:cxn modelId="{E40A5F23-A0C9-4B89-B86D-480710DBE95C}" type="presParOf" srcId="{27654F25-0D91-4FD3-A660-A68456E971CC}" destId="{356491A5-303E-4F83-8477-27D732F252C5}" srcOrd="2" destOrd="0" presId="urn:microsoft.com/office/officeart/2005/8/layout/gear1"/>
    <dgm:cxn modelId="{AAD862EE-74FA-4C15-9770-D597016F020C}" type="presParOf" srcId="{27654F25-0D91-4FD3-A660-A68456E971CC}" destId="{059CD71B-DF78-41EF-AFCF-FCFFE5D216BB}" srcOrd="3" destOrd="0" presId="urn:microsoft.com/office/officeart/2005/8/layout/gear1"/>
    <dgm:cxn modelId="{C44D2ED3-E203-45DF-956E-7898DB1D251C}" type="presParOf" srcId="{27654F25-0D91-4FD3-A660-A68456E971CC}" destId="{42FED1B0-D124-4474-8D23-BB245AD65804}" srcOrd="4" destOrd="0" presId="urn:microsoft.com/office/officeart/2005/8/layout/gear1"/>
    <dgm:cxn modelId="{49C61984-C664-4E65-8D10-A6B3E50F8EDE}" type="presParOf" srcId="{27654F25-0D91-4FD3-A660-A68456E971CC}" destId="{4DA29C94-0A0D-4EC8-A591-67D442920F10}" srcOrd="5" destOrd="0" presId="urn:microsoft.com/office/officeart/2005/8/layout/gear1"/>
    <dgm:cxn modelId="{36FD6652-CC5E-4CAC-AD13-93EAD1081EF6}" type="presParOf" srcId="{27654F25-0D91-4FD3-A660-A68456E971CC}" destId="{8098FE7D-79C4-4189-BFF6-D0A32AF0313A}" srcOrd="6" destOrd="0" presId="urn:microsoft.com/office/officeart/2005/8/layout/gear1"/>
    <dgm:cxn modelId="{3E7298DD-1D5F-4006-8176-C4FFB6EA3AF1}" type="presParOf" srcId="{27654F25-0D91-4FD3-A660-A68456E971CC}" destId="{9D6B6116-2FD2-4D3A-8A53-BA7DB1B203DB}" srcOrd="7" destOrd="0" presId="urn:microsoft.com/office/officeart/2005/8/layout/gear1"/>
    <dgm:cxn modelId="{52E23C3B-FBF1-4A51-8355-5C79BE20A10A}" type="presParOf" srcId="{27654F25-0D91-4FD3-A660-A68456E971CC}" destId="{BDB8DFD9-FC7F-4013-A6A4-535AE8698EDA}" srcOrd="8" destOrd="0" presId="urn:microsoft.com/office/officeart/2005/8/layout/gear1"/>
    <dgm:cxn modelId="{58927508-21B6-4398-B48E-541ADE918E13}" type="presParOf" srcId="{27654F25-0D91-4FD3-A660-A68456E971CC}" destId="{15B171EA-FA76-4398-B07A-18F1C42D6E05}" srcOrd="9" destOrd="0" presId="urn:microsoft.com/office/officeart/2005/8/layout/gear1"/>
    <dgm:cxn modelId="{F77D0EEF-A6D1-4134-A5CF-262393D28966}" type="presParOf" srcId="{27654F25-0D91-4FD3-A660-A68456E971CC}" destId="{4B9F444F-948C-4ECF-8F34-1584DB3074B3}" srcOrd="10" destOrd="0" presId="urn:microsoft.com/office/officeart/2005/8/layout/gear1"/>
    <dgm:cxn modelId="{969AF987-BE92-4023-9A3B-A81C98C712F0}" type="presParOf" srcId="{27654F25-0D91-4FD3-A660-A68456E971CC}" destId="{EF4EADB9-8287-4988-9261-F83C28FDC48D}" srcOrd="11" destOrd="0" presId="urn:microsoft.com/office/officeart/2005/8/layout/gear1"/>
    <dgm:cxn modelId="{FB1308E5-4C5C-447E-A630-738E3066C071}" type="presParOf" srcId="{27654F25-0D91-4FD3-A660-A68456E971CC}" destId="{E1C5CC2E-AA2F-48C3-ADC4-4653986EEDC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:a="http://schemas.openxmlformats.org/drawingml/2006/main" xmlns:dgm="http://schemas.openxmlformats.org/drawingml/2006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C117DC-9B14-834A-86C1-2C80790F60A4}">
      <dsp:nvSpPr>
        <dsp:cNvPr id="0" name=""/>
        <dsp:cNvSpPr/>
      </dsp:nvSpPr>
      <dsp:spPr>
        <a:xfrm>
          <a:off x="4019163" y="1412933"/>
          <a:ext cx="3156019" cy="5006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184"/>
              </a:lnTo>
              <a:lnTo>
                <a:pt x="3156019" y="341184"/>
              </a:lnTo>
              <a:lnTo>
                <a:pt x="3156019" y="50065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34D835-3480-D741-8B53-2E89B6AF0165}">
      <dsp:nvSpPr>
        <dsp:cNvPr id="0" name=""/>
        <dsp:cNvSpPr/>
      </dsp:nvSpPr>
      <dsp:spPr>
        <a:xfrm>
          <a:off x="5025449" y="3006723"/>
          <a:ext cx="91440" cy="50065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659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CE658C-BCA2-6C40-95D9-2F05F0D7BF07}">
      <dsp:nvSpPr>
        <dsp:cNvPr id="0" name=""/>
        <dsp:cNvSpPr/>
      </dsp:nvSpPr>
      <dsp:spPr>
        <a:xfrm>
          <a:off x="4019163" y="1412933"/>
          <a:ext cx="1052006" cy="5006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1184"/>
              </a:lnTo>
              <a:lnTo>
                <a:pt x="1052006" y="341184"/>
              </a:lnTo>
              <a:lnTo>
                <a:pt x="1052006" y="50065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6D812F-4519-B440-95B4-55AACBEF76B9}">
      <dsp:nvSpPr>
        <dsp:cNvPr id="0" name=""/>
        <dsp:cNvSpPr/>
      </dsp:nvSpPr>
      <dsp:spPr>
        <a:xfrm>
          <a:off x="2921436" y="3006723"/>
          <a:ext cx="91440" cy="50065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659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C44139-7AAB-F546-A68D-44E38DB60EB5}">
      <dsp:nvSpPr>
        <dsp:cNvPr id="0" name=""/>
        <dsp:cNvSpPr/>
      </dsp:nvSpPr>
      <dsp:spPr>
        <a:xfrm>
          <a:off x="2967156" y="1412933"/>
          <a:ext cx="1052006" cy="500659"/>
        </a:xfrm>
        <a:custGeom>
          <a:avLst/>
          <a:gdLst/>
          <a:ahLst/>
          <a:cxnLst/>
          <a:rect l="0" t="0" r="0" b="0"/>
          <a:pathLst>
            <a:path>
              <a:moveTo>
                <a:pt x="1052006" y="0"/>
              </a:moveTo>
              <a:lnTo>
                <a:pt x="1052006" y="341184"/>
              </a:lnTo>
              <a:lnTo>
                <a:pt x="0" y="341184"/>
              </a:lnTo>
              <a:lnTo>
                <a:pt x="0" y="50065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3C4B9B-8DB0-3E4B-A177-95260D83C563}">
      <dsp:nvSpPr>
        <dsp:cNvPr id="0" name=""/>
        <dsp:cNvSpPr/>
      </dsp:nvSpPr>
      <dsp:spPr>
        <a:xfrm>
          <a:off x="817423" y="3006723"/>
          <a:ext cx="91440" cy="50065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659"/>
              </a:lnTo>
            </a:path>
          </a:pathLst>
        </a:custGeom>
        <a:noFill/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32F9C7-07AF-3D42-9E0F-2EBFB7829570}">
      <dsp:nvSpPr>
        <dsp:cNvPr id="0" name=""/>
        <dsp:cNvSpPr/>
      </dsp:nvSpPr>
      <dsp:spPr>
        <a:xfrm>
          <a:off x="863143" y="1412933"/>
          <a:ext cx="3156019" cy="500659"/>
        </a:xfrm>
        <a:custGeom>
          <a:avLst/>
          <a:gdLst/>
          <a:ahLst/>
          <a:cxnLst/>
          <a:rect l="0" t="0" r="0" b="0"/>
          <a:pathLst>
            <a:path>
              <a:moveTo>
                <a:pt x="3156019" y="0"/>
              </a:moveTo>
              <a:lnTo>
                <a:pt x="3156019" y="341184"/>
              </a:lnTo>
              <a:lnTo>
                <a:pt x="0" y="341184"/>
              </a:lnTo>
              <a:lnTo>
                <a:pt x="0" y="50065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C3356D-B6F9-224C-A20A-A824B2C91059}">
      <dsp:nvSpPr>
        <dsp:cNvPr id="0" name=""/>
        <dsp:cNvSpPr/>
      </dsp:nvSpPr>
      <dsp:spPr>
        <a:xfrm>
          <a:off x="3158430" y="31980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83FAA36-B04C-FE47-899B-A20143DC6926}">
      <dsp:nvSpPr>
        <dsp:cNvPr id="0" name=""/>
        <dsp:cNvSpPr/>
      </dsp:nvSpPr>
      <dsp:spPr>
        <a:xfrm>
          <a:off x="3349704" y="50151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rtalidad Materna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381721" y="533530"/>
        <a:ext cx="1657431" cy="1029096"/>
      </dsp:txXfrm>
    </dsp:sp>
    <dsp:sp modelId="{177DC40E-1496-4A4C-B562-EB6EBAC5338C}">
      <dsp:nvSpPr>
        <dsp:cNvPr id="0" name=""/>
        <dsp:cNvSpPr/>
      </dsp:nvSpPr>
      <dsp:spPr>
        <a:xfrm>
          <a:off x="2411" y="191359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3B3F96C-C904-404A-BF61-5F98455C0B14}">
      <dsp:nvSpPr>
        <dsp:cNvPr id="0" name=""/>
        <dsp:cNvSpPr/>
      </dsp:nvSpPr>
      <dsp:spPr>
        <a:xfrm>
          <a:off x="193684" y="209530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rcera demora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25701" y="2127320"/>
        <a:ext cx="1657431" cy="1029096"/>
      </dsp:txXfrm>
    </dsp:sp>
    <dsp:sp modelId="{F7481B29-7796-F146-BE3F-78E8CB05B603}">
      <dsp:nvSpPr>
        <dsp:cNvPr id="0" name=""/>
        <dsp:cNvSpPr/>
      </dsp:nvSpPr>
      <dsp:spPr>
        <a:xfrm>
          <a:off x="2411" y="350738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9C73AA-0016-EB48-9E72-C2AFAD9CA538}">
      <dsp:nvSpPr>
        <dsp:cNvPr id="0" name=""/>
        <dsp:cNvSpPr/>
      </dsp:nvSpPr>
      <dsp:spPr>
        <a:xfrm>
          <a:off x="193684" y="368909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recibir un tratamiento adecuado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2%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25701" y="3721110"/>
        <a:ext cx="1657431" cy="1029096"/>
      </dsp:txXfrm>
    </dsp:sp>
    <dsp:sp modelId="{6CA0E149-28C4-8D4E-B78E-8888184821B3}">
      <dsp:nvSpPr>
        <dsp:cNvPr id="0" name=""/>
        <dsp:cNvSpPr/>
      </dsp:nvSpPr>
      <dsp:spPr>
        <a:xfrm>
          <a:off x="2106423" y="191359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9954678-F190-F144-ABF8-12B59B6918CE}">
      <dsp:nvSpPr>
        <dsp:cNvPr id="0" name=""/>
        <dsp:cNvSpPr/>
      </dsp:nvSpPr>
      <dsp:spPr>
        <a:xfrm>
          <a:off x="2297697" y="209530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gunda Demora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329714" y="2127320"/>
        <a:ext cx="1657431" cy="1029096"/>
      </dsp:txXfrm>
    </dsp:sp>
    <dsp:sp modelId="{2CE18776-9550-4445-8614-798DE1EAA783}">
      <dsp:nvSpPr>
        <dsp:cNvPr id="0" name=""/>
        <dsp:cNvSpPr/>
      </dsp:nvSpPr>
      <dsp:spPr>
        <a:xfrm>
          <a:off x="2106423" y="350738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4BBC7A3-AA56-2E43-A046-5DF2F116679C}">
      <dsp:nvSpPr>
        <dsp:cNvPr id="0" name=""/>
        <dsp:cNvSpPr/>
      </dsp:nvSpPr>
      <dsp:spPr>
        <a:xfrm>
          <a:off x="2297697" y="368909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llegar a un establecimiento adecuado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%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329714" y="3721110"/>
        <a:ext cx="1657431" cy="1029096"/>
      </dsp:txXfrm>
    </dsp:sp>
    <dsp:sp modelId="{E26BCDDD-13F7-2147-94FC-6BA294219A0B}">
      <dsp:nvSpPr>
        <dsp:cNvPr id="0" name=""/>
        <dsp:cNvSpPr/>
      </dsp:nvSpPr>
      <dsp:spPr>
        <a:xfrm>
          <a:off x="4210436" y="191359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42408B2-D114-0843-92AB-080506B0B582}">
      <dsp:nvSpPr>
        <dsp:cNvPr id="0" name=""/>
        <dsp:cNvSpPr/>
      </dsp:nvSpPr>
      <dsp:spPr>
        <a:xfrm>
          <a:off x="4401710" y="209530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imera demora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433727" y="2127320"/>
        <a:ext cx="1657431" cy="1029096"/>
      </dsp:txXfrm>
    </dsp:sp>
    <dsp:sp modelId="{B6BEB7C9-81B6-1E45-B011-D0CA0B10B080}">
      <dsp:nvSpPr>
        <dsp:cNvPr id="0" name=""/>
        <dsp:cNvSpPr/>
      </dsp:nvSpPr>
      <dsp:spPr>
        <a:xfrm>
          <a:off x="4210436" y="350738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C317D4F-E3BB-EE4E-980E-81B4CEFFB593}">
      <dsp:nvSpPr>
        <dsp:cNvPr id="0" name=""/>
        <dsp:cNvSpPr/>
      </dsp:nvSpPr>
      <dsp:spPr>
        <a:xfrm>
          <a:off x="4401710" y="368909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tardo en tomar la decisión de búsqueda de atención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0%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433727" y="3721110"/>
        <a:ext cx="1657431" cy="1029096"/>
      </dsp:txXfrm>
    </dsp:sp>
    <dsp:sp modelId="{216E6E6D-AA81-5C46-B14E-AC2DBBE964B2}">
      <dsp:nvSpPr>
        <dsp:cNvPr id="0" name=""/>
        <dsp:cNvSpPr/>
      </dsp:nvSpPr>
      <dsp:spPr>
        <a:xfrm>
          <a:off x="6314449" y="1913593"/>
          <a:ext cx="1721465" cy="1093130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A12F5DA-2885-454B-9255-64056A28CC9C}">
      <dsp:nvSpPr>
        <dsp:cNvPr id="0" name=""/>
        <dsp:cNvSpPr/>
      </dsp:nvSpPr>
      <dsp:spPr>
        <a:xfrm>
          <a:off x="6505723" y="2095303"/>
          <a:ext cx="1721465" cy="10931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lanificación familiar</a:t>
          </a:r>
          <a:endParaRPr lang="es-ES_tradnl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6537740" y="2127320"/>
        <a:ext cx="1657431" cy="10290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AE5373-5F4C-0B46-BA7A-A2843B2F648C}">
      <dsp:nvSpPr>
        <dsp:cNvPr id="0" name=""/>
        <dsp:cNvSpPr/>
      </dsp:nvSpPr>
      <dsp:spPr>
        <a:xfrm>
          <a:off x="0" y="31499"/>
          <a:ext cx="1517904" cy="518399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RCERA DEMORA</a:t>
          </a:r>
          <a:endParaRPr lang="es-ES_tradnl" sz="12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0" y="31499"/>
        <a:ext cx="1517904" cy="345600"/>
      </dsp:txXfrm>
    </dsp:sp>
    <dsp:sp modelId="{88FBDB00-2A84-6C4B-982B-10D30C075ABF}">
      <dsp:nvSpPr>
        <dsp:cNvPr id="0" name=""/>
        <dsp:cNvSpPr/>
      </dsp:nvSpPr>
      <dsp:spPr>
        <a:xfrm>
          <a:off x="310895" y="377099"/>
          <a:ext cx="1517904" cy="734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200" kern="1200" dirty="0" smtClean="0"/>
            <a:t>Retardo en recibir un tratamiento adecuado</a:t>
          </a:r>
          <a:endParaRPr lang="es-ES_tradnl" sz="1200" kern="1200" dirty="0"/>
        </a:p>
      </dsp:txBody>
      <dsp:txXfrm>
        <a:off x="332405" y="398609"/>
        <a:ext cx="1474884" cy="6913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6B9BA8-2D16-354D-8489-B96CE871EF46}">
      <dsp:nvSpPr>
        <dsp:cNvPr id="0" name=""/>
        <dsp:cNvSpPr/>
      </dsp:nvSpPr>
      <dsp:spPr>
        <a:xfrm>
          <a:off x="174520" y="152404"/>
          <a:ext cx="4237482" cy="847011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400" kern="1200" dirty="0" smtClean="0"/>
            <a:t>Red de atención para Urgencias Obstétricas Intersectorial </a:t>
          </a:r>
          <a:endParaRPr lang="es-ES_tradnl" sz="1400" kern="1200" dirty="0"/>
        </a:p>
      </dsp:txBody>
      <dsp:txXfrm>
        <a:off x="174520" y="152404"/>
        <a:ext cx="4237482" cy="564674"/>
      </dsp:txXfrm>
    </dsp:sp>
    <dsp:sp modelId="{CAECEDB5-2497-7F44-B655-B9065F4796CD}">
      <dsp:nvSpPr>
        <dsp:cNvPr id="0" name=""/>
        <dsp:cNvSpPr/>
      </dsp:nvSpPr>
      <dsp:spPr>
        <a:xfrm>
          <a:off x="993326" y="641399"/>
          <a:ext cx="3539399" cy="806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400" kern="1200" dirty="0" smtClean="0"/>
            <a:t>Desarrollar competencias técnicas en el personal de salud</a:t>
          </a:r>
          <a:endParaRPr lang="es-ES_tradnl" sz="1400" kern="1200" dirty="0"/>
        </a:p>
      </dsp:txBody>
      <dsp:txXfrm>
        <a:off x="1016945" y="665018"/>
        <a:ext cx="3492161" cy="7591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6B9BA8-2D16-354D-8489-B96CE871EF46}">
      <dsp:nvSpPr>
        <dsp:cNvPr id="0" name=""/>
        <dsp:cNvSpPr/>
      </dsp:nvSpPr>
      <dsp:spPr>
        <a:xfrm>
          <a:off x="167846" y="65768"/>
          <a:ext cx="4237482" cy="847011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400" kern="1200" dirty="0" smtClean="0"/>
            <a:t>Universalizar la atención del embarazo, parto y puerperio </a:t>
          </a:r>
          <a:endParaRPr lang="es-ES_tradnl" sz="1400" kern="1200" dirty="0"/>
        </a:p>
      </dsp:txBody>
      <dsp:txXfrm>
        <a:off x="167846" y="65768"/>
        <a:ext cx="4237482" cy="564674"/>
      </dsp:txXfrm>
    </dsp:sp>
    <dsp:sp modelId="{CAECEDB5-2497-7F44-B655-B9065F4796CD}">
      <dsp:nvSpPr>
        <dsp:cNvPr id="0" name=""/>
        <dsp:cNvSpPr/>
      </dsp:nvSpPr>
      <dsp:spPr>
        <a:xfrm>
          <a:off x="804949" y="604166"/>
          <a:ext cx="3683388" cy="806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400" kern="1200" dirty="0" smtClean="0"/>
            <a:t>Garantizar accesibilidad para la atención del embarazo, parto y puerperio</a:t>
          </a:r>
          <a:endParaRPr lang="es-ES_tradnl" sz="1400" kern="1200" dirty="0"/>
        </a:p>
      </dsp:txBody>
      <dsp:txXfrm>
        <a:off x="828568" y="627785"/>
        <a:ext cx="3636150" cy="7591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6B9BA8-2D16-354D-8489-B96CE871EF46}">
      <dsp:nvSpPr>
        <dsp:cNvPr id="0" name=""/>
        <dsp:cNvSpPr/>
      </dsp:nvSpPr>
      <dsp:spPr>
        <a:xfrm>
          <a:off x="149087" y="-122564"/>
          <a:ext cx="4237482" cy="1059774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400" kern="1200" dirty="0" smtClean="0"/>
            <a:t>Información oportuna y adecuada en la </a:t>
          </a:r>
          <a:r>
            <a:rPr lang="es-ES_tradnl" sz="1400" kern="1200" dirty="0" err="1" smtClean="0"/>
            <a:t>comunidada</a:t>
          </a:r>
          <a:endParaRPr lang="es-ES_tradnl" sz="1400" kern="1200" dirty="0"/>
        </a:p>
      </dsp:txBody>
      <dsp:txXfrm>
        <a:off x="149087" y="-122564"/>
        <a:ext cx="4237482" cy="706516"/>
      </dsp:txXfrm>
    </dsp:sp>
    <dsp:sp modelId="{CAECEDB5-2497-7F44-B655-B9065F4796CD}">
      <dsp:nvSpPr>
        <dsp:cNvPr id="0" name=""/>
        <dsp:cNvSpPr/>
      </dsp:nvSpPr>
      <dsp:spPr>
        <a:xfrm>
          <a:off x="664082" y="503908"/>
          <a:ext cx="3644234" cy="810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400" kern="1200" dirty="0" smtClean="0"/>
            <a:t>Fortalecer las acciones de Planificación Familiar </a:t>
          </a:r>
          <a:endParaRPr lang="es-ES_tradnl" sz="1400" kern="1200" dirty="0"/>
        </a:p>
      </dsp:txBody>
      <dsp:txXfrm>
        <a:off x="687806" y="527632"/>
        <a:ext cx="3596786" cy="76255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AE5373-5F4C-0B46-BA7A-A2843B2F648C}">
      <dsp:nvSpPr>
        <dsp:cNvPr id="0" name=""/>
        <dsp:cNvSpPr/>
      </dsp:nvSpPr>
      <dsp:spPr>
        <a:xfrm>
          <a:off x="72013" y="102791"/>
          <a:ext cx="1522857" cy="514501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GUNDA </a:t>
          </a:r>
          <a:r>
            <a:rPr lang="es-ES_tradnl" sz="12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MORA</a:t>
          </a:r>
          <a:endParaRPr lang="es-ES_tradnl" sz="12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72013" y="102791"/>
        <a:ext cx="1522857" cy="343001"/>
      </dsp:txXfrm>
    </dsp:sp>
    <dsp:sp modelId="{88FBDB00-2A84-6C4B-982B-10D30C075ABF}">
      <dsp:nvSpPr>
        <dsp:cNvPr id="0" name=""/>
        <dsp:cNvSpPr/>
      </dsp:nvSpPr>
      <dsp:spPr>
        <a:xfrm>
          <a:off x="381416" y="432048"/>
          <a:ext cx="1288831" cy="612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000" kern="1200" dirty="0" smtClean="0"/>
            <a:t>Retardo en llegar a un </a:t>
          </a:r>
          <a:r>
            <a:rPr lang="es-ES_tradnl" sz="1000" kern="1200" dirty="0" smtClean="0"/>
            <a:t>establecimiento </a:t>
          </a:r>
          <a:r>
            <a:rPr lang="es-ES_tradnl" sz="1000" kern="1200" dirty="0" smtClean="0"/>
            <a:t>adecuado</a:t>
          </a:r>
          <a:endParaRPr lang="es-ES_tradnl" sz="1000" kern="1200" dirty="0"/>
        </a:p>
      </dsp:txBody>
      <dsp:txXfrm>
        <a:off x="399341" y="449973"/>
        <a:ext cx="1252981" cy="57615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AE5373-5F4C-0B46-BA7A-A2843B2F648C}">
      <dsp:nvSpPr>
        <dsp:cNvPr id="0" name=""/>
        <dsp:cNvSpPr/>
      </dsp:nvSpPr>
      <dsp:spPr>
        <a:xfrm>
          <a:off x="0" y="31398"/>
          <a:ext cx="1386305" cy="475199"/>
        </a:xfrm>
        <a:prstGeom prst="roundRect">
          <a:avLst>
            <a:gd name="adj" fmla="val 10000"/>
          </a:avLst>
        </a:prstGeom>
        <a:solidFill>
          <a:srgbClr val="FF66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2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IMERA DEMORA</a:t>
          </a:r>
          <a:endParaRPr lang="es-ES_tradnl" sz="12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0" y="31398"/>
        <a:ext cx="1386305" cy="316800"/>
      </dsp:txXfrm>
    </dsp:sp>
    <dsp:sp modelId="{88FBDB00-2A84-6C4B-982B-10D30C075ABF}">
      <dsp:nvSpPr>
        <dsp:cNvPr id="0" name=""/>
        <dsp:cNvSpPr/>
      </dsp:nvSpPr>
      <dsp:spPr>
        <a:xfrm>
          <a:off x="283942" y="384186"/>
          <a:ext cx="1386305" cy="6299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000" kern="1200" dirty="0" smtClean="0"/>
            <a:t>Retardo en tomar la </a:t>
          </a:r>
          <a:r>
            <a:rPr lang="es-ES_tradnl" sz="1000" kern="1200" dirty="0" smtClean="0"/>
            <a:t>decisión </a:t>
          </a:r>
          <a:r>
            <a:rPr lang="es-ES_tradnl" sz="1000" kern="1200" dirty="0" smtClean="0"/>
            <a:t>de buscar </a:t>
          </a:r>
          <a:r>
            <a:rPr lang="es-ES_tradnl" sz="1000" kern="1200" dirty="0" smtClean="0"/>
            <a:t>atención </a:t>
          </a:r>
          <a:endParaRPr lang="es-ES_tradnl" sz="1000" kern="1200" dirty="0"/>
        </a:p>
      </dsp:txBody>
      <dsp:txXfrm>
        <a:off x="302393" y="402637"/>
        <a:ext cx="1349403" cy="59305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1C749C-478A-453C-ADBF-89A21317D59B}">
      <dsp:nvSpPr>
        <dsp:cNvPr id="0" name=""/>
        <dsp:cNvSpPr/>
      </dsp:nvSpPr>
      <dsp:spPr>
        <a:xfrm>
          <a:off x="3916746" y="1976605"/>
          <a:ext cx="2750780" cy="2750780"/>
        </a:xfrm>
        <a:prstGeom prst="gear9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Red de Atención Intersectorial </a:t>
          </a:r>
          <a:endParaRPr lang="en-US" sz="1200" b="1" kern="1200" dirty="0"/>
        </a:p>
      </dsp:txBody>
      <dsp:txXfrm>
        <a:off x="4469775" y="2620962"/>
        <a:ext cx="1644722" cy="1413958"/>
      </dsp:txXfrm>
    </dsp:sp>
    <dsp:sp modelId="{059CD71B-DF78-41EF-AFCF-FCFFE5D216BB}">
      <dsp:nvSpPr>
        <dsp:cNvPr id="0" name=""/>
        <dsp:cNvSpPr/>
      </dsp:nvSpPr>
      <dsp:spPr>
        <a:xfrm>
          <a:off x="2007362" y="1440168"/>
          <a:ext cx="2000567" cy="2000567"/>
        </a:xfrm>
        <a:prstGeom prst="gear6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Universalizar la atención de  embarazo, parto y puerperio</a:t>
          </a:r>
          <a:endParaRPr lang="en-US" sz="1200" b="1" kern="1200" dirty="0"/>
        </a:p>
      </dsp:txBody>
      <dsp:txXfrm>
        <a:off x="2511011" y="1946861"/>
        <a:ext cx="993269" cy="987181"/>
      </dsp:txXfrm>
    </dsp:sp>
    <dsp:sp modelId="{8098FE7D-79C4-4189-BFF6-D0A32AF0313A}">
      <dsp:nvSpPr>
        <dsp:cNvPr id="0" name=""/>
        <dsp:cNvSpPr/>
      </dsp:nvSpPr>
      <dsp:spPr>
        <a:xfrm rot="20700000">
          <a:off x="3384796" y="220266"/>
          <a:ext cx="1960147" cy="1960147"/>
        </a:xfrm>
        <a:prstGeom prst="gear6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Garantizar información oportuna y adecuada </a:t>
          </a:r>
          <a:endParaRPr lang="en-US" sz="1200" b="1" kern="1200" dirty="0"/>
        </a:p>
      </dsp:txBody>
      <dsp:txXfrm rot="-20700000">
        <a:off x="3814714" y="650184"/>
        <a:ext cx="1100312" cy="1100312"/>
      </dsp:txXfrm>
    </dsp:sp>
    <dsp:sp modelId="{4B9F444F-948C-4ECF-8F34-1584DB3074B3}">
      <dsp:nvSpPr>
        <dsp:cNvPr id="0" name=""/>
        <dsp:cNvSpPr/>
      </dsp:nvSpPr>
      <dsp:spPr>
        <a:xfrm rot="189716">
          <a:off x="3801394" y="739735"/>
          <a:ext cx="3520998" cy="3520998"/>
        </a:xfrm>
        <a:prstGeom prst="circularArrow">
          <a:avLst>
            <a:gd name="adj1" fmla="val 4688"/>
            <a:gd name="adj2" fmla="val 299029"/>
            <a:gd name="adj3" fmla="val 2532568"/>
            <a:gd name="adj4" fmla="val 15826385"/>
            <a:gd name="adj5" fmla="val 546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4EADB9-8287-4988-9261-F83C28FDC48D}">
      <dsp:nvSpPr>
        <dsp:cNvPr id="0" name=""/>
        <dsp:cNvSpPr/>
      </dsp:nvSpPr>
      <dsp:spPr>
        <a:xfrm rot="19125886">
          <a:off x="1428264" y="1152140"/>
          <a:ext cx="2558225" cy="255822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C5CC2E-AA2F-48C3-ADC4-4653986EEDC5}">
      <dsp:nvSpPr>
        <dsp:cNvPr id="0" name=""/>
        <dsp:cNvSpPr/>
      </dsp:nvSpPr>
      <dsp:spPr>
        <a:xfrm rot="2342166">
          <a:off x="2931394" y="-212543"/>
          <a:ext cx="2758282" cy="275828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2E75CC5-A32B-4ED7-9E59-C52A56A5FD0F}" type="datetimeFigureOut">
              <a:rPr lang="en-US" smtClean="0"/>
              <a:pPr/>
              <a:t>26/8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4310E61-7D7E-4209-AA4C-599E6D21022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49474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0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99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50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99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49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97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48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97" algn="l" defTabSz="91409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Buenas tardes, el hablar de Mortalidad materna es apasionante por todos los factores</a:t>
            </a:r>
            <a:r>
              <a:rPr lang="es-MX" baseline="0" dirty="0" smtClean="0"/>
              <a:t> involucrad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743026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es-ES_tradnl" dirty="0" smtClean="0"/>
              <a:t>Se han</a:t>
            </a:r>
            <a:r>
              <a:rPr lang="es-ES_tradnl" baseline="0" dirty="0" smtClean="0"/>
              <a:t> realizado con base en las recomendaciones mundiales, </a:t>
            </a:r>
            <a:r>
              <a:rPr lang="es-ES_tradnl" baseline="0" dirty="0" err="1" smtClean="0"/>
              <a:t>asi</a:t>
            </a:r>
            <a:r>
              <a:rPr lang="es-ES_tradnl" baseline="0" dirty="0" smtClean="0"/>
              <a:t> como el análisis y el perfil de las defunciones materna y se han orientado a 4 ejes rectores </a:t>
            </a:r>
            <a:r>
              <a:rPr lang="es-ES" dirty="0" smtClean="0"/>
              <a:t>Muchas mujeres mueren de complicaciones que se producen durante el embarazo y el parto o después de ellos. La mayoría de esas complicaciones aparecen durante la gestación; otras pueden estar presentes desde antes del embarazo, pero se agravan con la gestación. Las principales complicaciones, causantes del 80% de las muertes maternas, son:</a:t>
            </a:r>
          </a:p>
          <a:p>
            <a:pPr fontAlgn="base"/>
            <a:r>
              <a:rPr lang="es-ES" dirty="0" smtClean="0"/>
              <a:t>las hemorragias graves (en su mayoría tras el parto)</a:t>
            </a:r>
          </a:p>
          <a:p>
            <a:pPr fontAlgn="base"/>
            <a:r>
              <a:rPr lang="es-ES" dirty="0" smtClean="0"/>
              <a:t>las infecciones (generalmente tras el parto)</a:t>
            </a:r>
          </a:p>
          <a:p>
            <a:pPr fontAlgn="base"/>
            <a:r>
              <a:rPr lang="es-ES" dirty="0" smtClean="0"/>
              <a:t>la hipertensión gestacional (</a:t>
            </a:r>
            <a:r>
              <a:rPr lang="es-ES" dirty="0" err="1" smtClean="0"/>
              <a:t>preeclampsia</a:t>
            </a:r>
            <a:r>
              <a:rPr lang="es-ES" dirty="0" smtClean="0"/>
              <a:t> y eclampsia)</a:t>
            </a:r>
          </a:p>
          <a:p>
            <a:pPr fontAlgn="base"/>
            <a:r>
              <a:rPr lang="es-ES" dirty="0" smtClean="0"/>
              <a:t>los abortos peligrosos.</a:t>
            </a:r>
          </a:p>
          <a:p>
            <a:pPr fontAlgn="base"/>
            <a:r>
              <a:rPr lang="es-ES" dirty="0" smtClean="0"/>
              <a:t>Las demás son </a:t>
            </a:r>
            <a:r>
              <a:rPr lang="es-ES" dirty="0" err="1" smtClean="0"/>
              <a:t>associadas</a:t>
            </a:r>
            <a:r>
              <a:rPr lang="es-ES" dirty="0" smtClean="0"/>
              <a:t> a enfermedades como el paludismo, o la infección por VIH en el embarazo.</a:t>
            </a:r>
          </a:p>
          <a:p>
            <a:pPr fontAlgn="base"/>
            <a:r>
              <a:rPr lang="es-ES" dirty="0" smtClean="0"/>
              <a:t>La salud materna y del recién nacido están íntimamente relacionadas. Cada año mueren cerca de 3 millones de recién nacidos, y otros 2,6 millones mueren antes de nacer.</a:t>
            </a:r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800713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Ruta Crítica para la vigilancia . Para prevenir las demoras</a:t>
            </a:r>
            <a:r>
              <a:rPr lang="es-MX" baseline="0" dirty="0" smtClean="0"/>
              <a:t> en la </a:t>
            </a:r>
            <a:r>
              <a:rPr lang="es-MX" baseline="0" dirty="0" err="1" smtClean="0"/>
              <a:t>deteccuion</a:t>
            </a:r>
            <a:r>
              <a:rPr lang="es-MX" baseline="0" dirty="0" smtClean="0"/>
              <a:t> de complicaciones y el inicio de su tratamiento, con el objetivo : ruta de decisiones efectivas en el abordaje de emergencias o </a:t>
            </a:r>
            <a:r>
              <a:rPr lang="es-MX" baseline="0" dirty="0" err="1" smtClean="0"/>
              <a:t>inminecias</a:t>
            </a:r>
            <a:r>
              <a:rPr lang="es-MX" baseline="0" dirty="0" smtClean="0"/>
              <a:t> de complicaciones </a:t>
            </a:r>
            <a:r>
              <a:rPr lang="es-MX" baseline="0" dirty="0" err="1" smtClean="0"/>
              <a:t>obstetricas</a:t>
            </a:r>
            <a:r>
              <a:rPr lang="es-MX" baseline="0" dirty="0" smtClean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669140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Quiero comenzar  con la </a:t>
            </a:r>
            <a:r>
              <a:rPr lang="es-MX" dirty="0" err="1" smtClean="0"/>
              <a:t>declaracion</a:t>
            </a:r>
            <a:r>
              <a:rPr lang="es-MX" dirty="0" smtClean="0"/>
              <a:t> del </a:t>
            </a:r>
            <a:r>
              <a:rPr lang="es-MX" dirty="0" err="1" smtClean="0"/>
              <a:t>Dr</a:t>
            </a:r>
            <a:r>
              <a:rPr lang="es-MX" dirty="0" smtClean="0"/>
              <a:t> </a:t>
            </a:r>
            <a:r>
              <a:rPr lang="es-MX" dirty="0" err="1" smtClean="0"/>
              <a:t>ban</a:t>
            </a:r>
            <a:r>
              <a:rPr lang="es-MX" dirty="0" smtClean="0"/>
              <a:t> Ki-</a:t>
            </a:r>
            <a:r>
              <a:rPr lang="es-MX" dirty="0" err="1" smtClean="0"/>
              <a:t>moon</a:t>
            </a:r>
            <a:r>
              <a:rPr lang="es-MX" dirty="0" smtClean="0"/>
              <a:t>  secretario general de las naciones </a:t>
            </a:r>
            <a:r>
              <a:rPr lang="es-MX" dirty="0" err="1" smtClean="0"/>
              <a:t>Unidaes</a:t>
            </a:r>
            <a:endParaRPr lang="es-MX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55027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El</a:t>
            </a:r>
            <a:r>
              <a:rPr lang="es-MX" baseline="0" dirty="0" smtClean="0"/>
              <a:t> </a:t>
            </a:r>
            <a:r>
              <a:rPr lang="es-MX" baseline="0" dirty="0" err="1" smtClean="0"/>
              <a:t>reprote</a:t>
            </a:r>
            <a:r>
              <a:rPr lang="es-MX" baseline="0" dirty="0" smtClean="0"/>
              <a:t> de mayo 2014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EC9815-CE5B-4F5D-8D18-35F403CF270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08194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En el 2000 se establecieron</a:t>
            </a:r>
            <a:r>
              <a:rPr lang="es-MX" baseline="0" dirty="0" smtClean="0"/>
              <a:t> los 8 objetivos del milenio, siendo la </a:t>
            </a:r>
            <a:r>
              <a:rPr lang="es-MX" baseline="0" dirty="0" err="1" smtClean="0"/>
              <a:t>mortalidada</a:t>
            </a:r>
            <a:r>
              <a:rPr lang="es-MX" baseline="0" dirty="0" smtClean="0"/>
              <a:t> materna el numero 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74520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04736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22865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57093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Los países que superaron esto son 10  s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95365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s-ES" dirty="0" smtClean="0"/>
              <a:t>Muchas mujeres mueren de complicaciones que se producen durante el embarazo y el parto o después de ellos. La mayoría de esas complicaciones aparecen durante la gestación; otras pueden estar presentes desde antes del embarazo, pero se agravan con la gestación. Las principales complicaciones, causantes del 80% de las muertes maternas, son:</a:t>
            </a:r>
          </a:p>
          <a:p>
            <a:pPr fontAlgn="base"/>
            <a:r>
              <a:rPr lang="es-ES" dirty="0" smtClean="0"/>
              <a:t>las hemorragias graves (en su mayoría tras el parto)</a:t>
            </a:r>
          </a:p>
          <a:p>
            <a:pPr fontAlgn="base"/>
            <a:r>
              <a:rPr lang="es-ES" dirty="0" smtClean="0"/>
              <a:t>las infecciones (generalmente tras el parto)</a:t>
            </a:r>
          </a:p>
          <a:p>
            <a:pPr fontAlgn="base"/>
            <a:r>
              <a:rPr lang="es-ES" dirty="0" smtClean="0"/>
              <a:t>la hipertensión gestacional (</a:t>
            </a:r>
            <a:r>
              <a:rPr lang="es-ES" dirty="0" err="1" smtClean="0"/>
              <a:t>preeclampsia</a:t>
            </a:r>
            <a:r>
              <a:rPr lang="es-ES" dirty="0" smtClean="0"/>
              <a:t> y eclampsia)</a:t>
            </a:r>
          </a:p>
          <a:p>
            <a:pPr fontAlgn="base"/>
            <a:r>
              <a:rPr lang="es-ES" dirty="0" smtClean="0"/>
              <a:t>los abortos peligrosos.</a:t>
            </a:r>
          </a:p>
          <a:p>
            <a:pPr fontAlgn="base"/>
            <a:r>
              <a:rPr lang="es-ES" dirty="0" smtClean="0"/>
              <a:t>Las demás son </a:t>
            </a:r>
            <a:r>
              <a:rPr lang="es-ES" dirty="0" err="1" smtClean="0"/>
              <a:t>associadas</a:t>
            </a:r>
            <a:r>
              <a:rPr lang="es-ES" dirty="0" smtClean="0"/>
              <a:t> a enfermedades como el paludismo, o la infección por VIH en el embarazo.</a:t>
            </a:r>
          </a:p>
          <a:p>
            <a:pPr fontAlgn="base"/>
            <a:r>
              <a:rPr lang="es-ES" dirty="0" smtClean="0"/>
              <a:t>La salud materna y del recién nacido están íntimamente relacionadas. Cada año mueren cerca de 3 millones de recién nacidos, y otros 2,6 millones mueren antes de nac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10E61-7D7E-4209-AA4C-599E6D210222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2426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09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MX" sz="8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3" y="3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9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00" smtClean="0">
                  <a:solidFill>
                    <a:srgbClr val="000000"/>
                  </a:solidFill>
                </a:rPr>
                <a:t>Tipo de Documento</a:t>
              </a:r>
              <a:endParaRPr lang="es-MX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9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00" smtClean="0">
                  <a:solidFill>
                    <a:srgbClr val="000000"/>
                  </a:solidFill>
                </a:rPr>
                <a:t>Fecha</a:t>
              </a:r>
              <a:endParaRPr lang="es-MX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5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s-MX" noProof="0" smtClean="0"/>
              <a:t>Click to edit Master title style</a:t>
            </a:r>
            <a:endParaRPr lang="es-MX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s-MX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55654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795" y="34986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9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19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93795" y="508599"/>
            <a:ext cx="33598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9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9/13/2014 1:29 AM Central Standard Time (Mexico)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93800" y="668961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19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9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9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01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82101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51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s-E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s-ES" noProof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7637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75596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589" y="1589"/>
            <a:ext cx="1588" cy="19595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3221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795" y="34986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93795" y="508599"/>
            <a:ext cx="33598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9/13/2014 1:29 AM Central Standard Time (Mexico)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93799" y="668960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s-E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s-ES" noProof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45060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9382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589" y="1589"/>
            <a:ext cx="1588" cy="19595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04291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MX" sz="816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28" smtClean="0">
                  <a:solidFill>
                    <a:srgbClr val="000000"/>
                  </a:solidFill>
                </a:rPr>
                <a:t>Tipo de Documento</a:t>
              </a:r>
              <a:endParaRPr lang="es-MX" sz="1428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28" smtClean="0">
                  <a:solidFill>
                    <a:srgbClr val="000000"/>
                  </a:solidFill>
                </a:rPr>
                <a:t>Fecha</a:t>
              </a:r>
              <a:endParaRPr lang="es-MX" sz="1428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MX" sz="1632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MX" sz="1632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MX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6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6" y="2176939"/>
            <a:ext cx="5036084" cy="1004890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s-MX" noProof="0" smtClean="0"/>
              <a:t>Click to edit Master title style</a:t>
            </a:r>
            <a:endParaRPr lang="es-MX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6" y="3945699"/>
            <a:ext cx="5036084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s-MX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703198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MX" sz="1020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428172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795" y="34986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93795" y="508599"/>
            <a:ext cx="33598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9/13/2014 1:29 AM Central Standard Time (Mexico)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93799" y="668960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s-E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s-ES" noProof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6305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4082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MX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59475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589" y="1589"/>
            <a:ext cx="1588" cy="19595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0519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93795" y="349868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93795" y="508599"/>
            <a:ext cx="33598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9/13/2014 1:29 AM Central Standard Time (Mexico)</a:t>
            </a:r>
            <a:endParaRPr lang="es-ES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93799" y="668960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2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900" dirty="0" smtClean="0">
                <a:solidFill>
                  <a:srgbClr val="000000"/>
                </a:solidFill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82110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8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endParaRPr lang="es-ES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s-E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s-ES" noProof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86918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81494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1" name="Text Placeholder 160"/>
          <p:cNvSpPr>
            <a:spLocks noGrp="1"/>
          </p:cNvSpPr>
          <p:nvPr>
            <p:ph type="body" idx="10"/>
          </p:nvPr>
        </p:nvSpPr>
        <p:spPr>
          <a:xfrm>
            <a:off x="1589" y="1589"/>
            <a:ext cx="1588" cy="19595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4031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933272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054665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08226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13195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41110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0216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234864"/>
            <a:ext cx="8794113" cy="292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65026A4B-B584-4018-8DBD-77D15FC1BEE2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F7144F88-4063-463A-93F7-C57F230F8F07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4A8174C8-7CB9-4052-B9CF-1027349BC499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7787628C-05D3-4279-B1BD-67A9F1752718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C7F2D133-EB51-4CB3-ACC6-B1E3D831C5A5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1E1450CD-BD99-4F74-BA3A-DC7E61423495}" type="slidenum">
              <a:rPr lang="en-GB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7A35D6BE-7582-4FA8-A12F-B7EC9C0787C0}" type="slidenum">
              <a:rPr lang="es-MX" sz="10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7966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41886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031747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971190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942937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43802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7945" y="6356354"/>
            <a:ext cx="2057400" cy="365125"/>
          </a:xfrm>
          <a:prstGeom prst="rect">
            <a:avLst/>
          </a:prstGeom>
        </p:spPr>
        <p:txBody>
          <a:bodyPr lIns="93265" tIns="46632" rIns="93265" bIns="46632"/>
          <a:lstStyle>
            <a:lvl1pPr>
              <a:defRPr/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fld id="{607252B2-11E8-44A9-B58A-535D3B9DF1F3}" type="datetimeFigureOut">
              <a:rPr lang="es-ES_tradnl" altLang="en-US" sz="16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  <a:defRPr/>
              </a:pPr>
              <a:t>26/8/15</a:t>
            </a:fld>
            <a:endParaRPr lang="es-ES_tradnl" altLang="en-US" sz="1600">
              <a:solidFill>
                <a:srgbClr val="000000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9656" y="6356354"/>
            <a:ext cx="3086100" cy="365125"/>
          </a:xfrm>
          <a:prstGeom prst="rect">
            <a:avLst/>
          </a:prstGeom>
        </p:spPr>
        <p:txBody>
          <a:bodyPr lIns="93265" tIns="46632" rIns="93265" bIns="46632"/>
          <a:lstStyle>
            <a:lvl1pPr>
              <a:defRPr/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altLang="en-US" sz="160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6458657" y="6356354"/>
            <a:ext cx="2057400" cy="365125"/>
          </a:xfrm>
          <a:prstGeom prst="rect">
            <a:avLst/>
          </a:prstGeom>
        </p:spPr>
        <p:txBody>
          <a:bodyPr lIns="93265" tIns="46632" rIns="93265" bIns="46632"/>
          <a:lstStyle>
            <a:lvl1pPr>
              <a:defRPr/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fld id="{E46AD521-7711-40A1-8A82-25533144261C}" type="slidenum">
              <a:rPr lang="es-ES_tradnl" altLang="en-US" sz="1600" smtClean="0">
                <a:solidFill>
                  <a:srgbClr val="000000"/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s-ES_tradnl" altLang="en-U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34212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7" y="1792490"/>
            <a:ext cx="7886700" cy="276998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7" y="4589463"/>
            <a:ext cx="7886700" cy="3768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0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0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0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0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0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0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0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lIns="93265" tIns="46632" rIns="93265" bIns="46632"/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F1EE2490-B80A-4687-90D5-A6BE9511789C}" type="datetimeFigureOut">
              <a:rPr lang="es-MX" sz="1600" smtClean="0">
                <a:solidFill>
                  <a:prstClr val="black">
                    <a:tint val="75000"/>
                  </a:prstClr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26/8/15</a:t>
            </a:fld>
            <a:endParaRPr lang="es-MX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1" y="6356355"/>
            <a:ext cx="3086100" cy="365125"/>
          </a:xfrm>
          <a:prstGeom prst="rect">
            <a:avLst/>
          </a:prstGeom>
        </p:spPr>
        <p:txBody>
          <a:bodyPr lIns="93265" tIns="46632" rIns="93265" bIns="46632"/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s-MX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lIns="93265" tIns="46632" rIns="93265" bIns="46632"/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fld id="{7669FE66-58DB-4B25-BB3B-43EE482FFBBA}" type="slidenum">
              <a:rPr lang="es-MX" sz="1600" smtClean="0">
                <a:solidFill>
                  <a:prstClr val="black">
                    <a:tint val="75000"/>
                  </a:prstClr>
                </a:solidFill>
              </a:rPr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6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25167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19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MX" sz="8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9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00" smtClean="0">
                  <a:solidFill>
                    <a:srgbClr val="000000"/>
                  </a:solidFill>
                </a:rPr>
                <a:t>Tipo de Documento</a:t>
              </a:r>
              <a:endParaRPr lang="es-MX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96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400" smtClean="0">
                  <a:solidFill>
                    <a:srgbClr val="000000"/>
                  </a:solidFill>
                </a:rPr>
                <a:t>Fecha</a:t>
              </a:r>
              <a:endParaRPr lang="es-MX" sz="14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endParaRPr lang="es-MX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51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3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s-MX" noProof="0" smtClean="0"/>
              <a:t>Click to edit Master title style</a:t>
            </a:r>
            <a:endParaRPr lang="es-MX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s-MX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14208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MX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44376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3" y="234864"/>
            <a:ext cx="8794113" cy="2923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/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65026A4B-B584-4018-8DBD-77D15FC1BEE2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F7144F88-4063-463A-93F7-C57F230F8F07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4A8174C8-7CB9-4052-B9CF-1027349BC499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7787628C-05D3-4279-B1BD-67A9F1752718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C7F2D133-EB51-4CB3-ACC6-B1E3D831C5A5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1E1450CD-BD99-4F74-BA3A-DC7E61423495}" type="slidenum">
              <a:rPr lang="en-GB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fld id="{7A35D6BE-7582-4FA8-A12F-B7EC9C0787C0}" type="slidenum">
              <a:rPr lang="es-MX" sz="10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MX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2690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7945" y="6356354"/>
            <a:ext cx="2057400" cy="365125"/>
          </a:xfrm>
          <a:prstGeom prst="rect">
            <a:avLst/>
          </a:prstGeom>
        </p:spPr>
        <p:txBody>
          <a:bodyPr lIns="93275" tIns="46638" rIns="93275" bIns="46638"/>
          <a:lstStyle>
            <a:lvl1pPr>
              <a:defRPr/>
            </a:lvl1pPr>
          </a:lstStyle>
          <a:p>
            <a:pPr defTabSz="914196" fontAlgn="base">
              <a:spcBef>
                <a:spcPct val="0"/>
              </a:spcBef>
              <a:spcAft>
                <a:spcPct val="0"/>
              </a:spcAft>
              <a:defRPr/>
            </a:pPr>
            <a:fld id="{607252B2-11E8-44A9-B58A-535D3B9DF1F3}" type="datetimeFigureOut">
              <a:rPr lang="es-ES_tradnl" altLang="en-US" sz="16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  <a:defRPr/>
              </a:pPr>
              <a:t>26/8/15</a:t>
            </a:fld>
            <a:endParaRPr lang="es-ES_tradnl" altLang="en-US" sz="1600">
              <a:solidFill>
                <a:srgbClr val="000000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9656" y="6356354"/>
            <a:ext cx="3086100" cy="365125"/>
          </a:xfrm>
          <a:prstGeom prst="rect">
            <a:avLst/>
          </a:prstGeom>
        </p:spPr>
        <p:txBody>
          <a:bodyPr lIns="93275" tIns="46638" rIns="93275" bIns="46638"/>
          <a:lstStyle>
            <a:lvl1pPr>
              <a:defRPr/>
            </a:lvl1pPr>
          </a:lstStyle>
          <a:p>
            <a:pPr defTabSz="914196"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altLang="en-US" sz="160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6458657" y="6356354"/>
            <a:ext cx="2057400" cy="365125"/>
          </a:xfrm>
          <a:prstGeom prst="rect">
            <a:avLst/>
          </a:prstGeom>
        </p:spPr>
        <p:txBody>
          <a:bodyPr lIns="93275" tIns="46638" rIns="93275" bIns="46638"/>
          <a:lstStyle>
            <a:lvl1pPr>
              <a:defRPr/>
            </a:lvl1pPr>
          </a:lstStyle>
          <a:p>
            <a:pPr defTabSz="914196" fontAlgn="base">
              <a:spcBef>
                <a:spcPct val="0"/>
              </a:spcBef>
              <a:spcAft>
                <a:spcPct val="0"/>
              </a:spcAft>
              <a:defRPr/>
            </a:pPr>
            <a:fld id="{E46AD521-7711-40A1-8A82-25533144261C}" type="slidenum">
              <a:rPr lang="es-ES_tradnl" altLang="en-US" sz="1600" smtClean="0">
                <a:solidFill>
                  <a:srgbClr val="000000"/>
                </a:solidFill>
              </a:rPr>
              <a:pPr defTabSz="914196"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s-ES_tradnl" altLang="en-U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088829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tags" Target="../tags/tag3.xml"/><Relationship Id="rId10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15.xml"/><Relationship Id="rId12" Type="http://schemas.openxmlformats.org/officeDocument/2006/relationships/tags" Target="../tags/tag16.xml"/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2.v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10" Type="http://schemas.openxmlformats.org/officeDocument/2006/relationships/tags" Target="../tags/tag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theme" Target="../theme/theme3.xml"/><Relationship Id="rId5" Type="http://schemas.openxmlformats.org/officeDocument/2006/relationships/vmlDrawing" Target="../drawings/vmlDrawing3.v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oleObject" Target="../embeddings/oleObject3.bin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4.v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oleObject" Target="../embeddings/oleObject4.bin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tags" Target="../tags/tag30.xml"/><Relationship Id="rId12" Type="http://schemas.openxmlformats.org/officeDocument/2006/relationships/tags" Target="../tags/tag31.xml"/><Relationship Id="rId13" Type="http://schemas.openxmlformats.org/officeDocument/2006/relationships/tags" Target="../tags/tag32.xml"/><Relationship Id="rId14" Type="http://schemas.openxmlformats.org/officeDocument/2006/relationships/oleObject" Target="../embeddings/oleObject5.bin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theme" Target="../theme/theme5.xml"/><Relationship Id="rId4" Type="http://schemas.openxmlformats.org/officeDocument/2006/relationships/vmlDrawing" Target="../drawings/vmlDrawing5.v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tags" Target="../tags/tag27.xml"/><Relationship Id="rId9" Type="http://schemas.openxmlformats.org/officeDocument/2006/relationships/tags" Target="../tags/tag28.xml"/><Relationship Id="rId10" Type="http://schemas.openxmlformats.org/officeDocument/2006/relationships/tags" Target="../tags/tag2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4" Type="http://schemas.openxmlformats.org/officeDocument/2006/relationships/theme" Target="../theme/theme6.xml"/><Relationship Id="rId5" Type="http://schemas.openxmlformats.org/officeDocument/2006/relationships/vmlDrawing" Target="../drawings/vmlDrawing6.vml"/><Relationship Id="rId6" Type="http://schemas.openxmlformats.org/officeDocument/2006/relationships/tags" Target="../tags/tag33.xml"/><Relationship Id="rId7" Type="http://schemas.openxmlformats.org/officeDocument/2006/relationships/tags" Target="../tags/tag34.xml"/><Relationship Id="rId8" Type="http://schemas.openxmlformats.org/officeDocument/2006/relationships/oleObject" Target="../embeddings/oleObject6.bin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4" Type="http://schemas.openxmlformats.org/officeDocument/2006/relationships/theme" Target="../theme/theme7.xml"/><Relationship Id="rId5" Type="http://schemas.openxmlformats.org/officeDocument/2006/relationships/vmlDrawing" Target="../drawings/vmlDrawing7.v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oleObject" Target="../embeddings/oleObject7.bin"/><Relationship Id="rId1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2.xml"/></Relationships>
</file>

<file path=ppt/slideMasters/_rels/slideMaster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.xml"/><Relationship Id="rId12" Type="http://schemas.openxmlformats.org/officeDocument/2006/relationships/theme" Target="../theme/theme8.xml"/><Relationship Id="rId13" Type="http://schemas.openxmlformats.org/officeDocument/2006/relationships/image" Target="../media/image3.jpeg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82590513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6331" name="think-cell Slide" r:id="rId17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26" fontAlgn="base">
              <a:spcBef>
                <a:spcPct val="0"/>
              </a:spcBef>
              <a:spcAft>
                <a:spcPct val="0"/>
              </a:spcAft>
            </a:pPr>
            <a:endParaRPr lang="es-MX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21493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itle style</a:t>
            </a:r>
            <a:endParaRPr lang="es-MX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es-MX" sz="1400" dirty="0" err="1" smtClean="0">
                <a:solidFill>
                  <a:srgbClr val="808080"/>
                </a:solidFill>
              </a:rPr>
              <a:t>TRACKER</a:t>
            </a:r>
            <a:endParaRPr lang="es-MX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21493" y="542618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1600" smtClean="0">
                <a:solidFill>
                  <a:srgbClr val="808080"/>
                </a:solidFill>
              </a:rPr>
              <a:t>Unit of measure</a:t>
            </a:r>
            <a:endParaRPr lang="es-MX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000" smtClean="0">
                  <a:solidFill>
                    <a:srgbClr val="000000"/>
                  </a:solidFill>
                  <a:latin typeface="Arial"/>
                </a:rPr>
                <a:t>1 Nota al pie</a:t>
              </a:r>
              <a:endParaRPr lang="es-MX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2" indent="-621772" defTabSz="913226" fontAlgn="base">
                <a:spcBef>
                  <a:spcPct val="0"/>
                </a:spcBef>
                <a:spcAft>
                  <a:spcPct val="0"/>
                </a:spcAft>
                <a:tabLst>
                  <a:tab pos="625009" algn="l"/>
                </a:tabLst>
              </a:pPr>
              <a:r>
                <a:rPr lang="es-MX" sz="1000" smtClean="0">
                  <a:solidFill>
                    <a:srgbClr val="000000"/>
                  </a:solidFill>
                </a:rPr>
                <a:t>FUENTE: Fuente</a:t>
              </a:r>
              <a:endParaRPr lang="es-MX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82159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00" smtClean="0">
                  <a:solidFill>
                    <a:srgbClr val="808080"/>
                  </a:solidFill>
                </a:rPr>
                <a:t>Unit of measure</a:t>
              </a:r>
              <a:endParaRPr lang="es-MX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590627" y="6534059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26" fontAlgn="base">
              <a:spcBef>
                <a:spcPct val="0"/>
              </a:spcBef>
              <a:spcAft>
                <a:spcPct val="0"/>
              </a:spcAft>
            </a:pPr>
            <a:r>
              <a:rPr lang="es-MX" sz="1200" smtClean="0">
                <a:solidFill>
                  <a:srgbClr val="000000"/>
                </a:solidFill>
              </a:rPr>
              <a:t>|</a:t>
            </a:r>
            <a:endParaRPr lang="es-MX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1098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  <p:sldLayoutId r:id="rId4"/>
    <p:sldLayoutId r:id="rId5"/>
  </p:sldLayoutIdLst>
  <p:hf hdr="0" ftr="0" dt="0"/>
  <p:txStyles>
    <p:titleStyle>
      <a:lvl1pPr algn="l" defTabSz="913226" rtl="0" eaLnBrk="1" fontAlgn="base" hangingPunct="1">
        <a:spcBef>
          <a:spcPct val="0"/>
        </a:spcBef>
        <a:spcAft>
          <a:spcPct val="0"/>
        </a:spcAft>
        <a:tabLst>
          <a:tab pos="36431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27"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55"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84"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12" algn="l" defTabSz="9132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42" indent="-195923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27" indent="-267167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28" indent="-158682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77" indent="-132775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77" indent="-132775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77" indent="-132775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77" indent="-132775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77" indent="-132775" algn="l" defTabSz="9132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27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55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84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12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39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66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294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2" algn="l" defTabSz="9326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93099397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13483" name="think-cell Slide" r:id="rId16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246610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323" fontAlgn="base">
              <a:spcBef>
                <a:spcPct val="0"/>
              </a:spcBef>
              <a:spcAft>
                <a:spcPct val="0"/>
              </a:spcAft>
            </a:pPr>
            <a:endParaRPr lang="es-MX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7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21493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itle style</a:t>
            </a:r>
            <a:endParaRPr lang="es-MX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r>
              <a:rPr lang="es-MX" sz="1400" dirty="0" err="1" smtClean="0">
                <a:solidFill>
                  <a:srgbClr val="808080"/>
                </a:solidFill>
              </a:rPr>
              <a:t>TRACKER</a:t>
            </a:r>
            <a:endParaRPr lang="es-MX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90" y="542617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1600" smtClean="0">
                <a:solidFill>
                  <a:srgbClr val="808080"/>
                </a:solidFill>
              </a:rPr>
              <a:t>Unit of measure</a:t>
            </a:r>
            <a:endParaRPr lang="es-MX" sz="1600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000" smtClean="0">
                  <a:solidFill>
                    <a:srgbClr val="000000"/>
                  </a:solidFill>
                  <a:latin typeface="Arial"/>
                </a:rPr>
                <a:t>1 Nota al pie</a:t>
              </a:r>
              <a:endParaRPr lang="es-MX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37" indent="-621837" defTabSz="913323" fontAlgn="base">
                <a:spcBef>
                  <a:spcPct val="0"/>
                </a:spcBef>
                <a:spcAft>
                  <a:spcPct val="0"/>
                </a:spcAft>
                <a:tabLst>
                  <a:tab pos="625075" algn="l"/>
                </a:tabLst>
              </a:pPr>
              <a:r>
                <a:rPr lang="es-MX" sz="1000" smtClean="0">
                  <a:solidFill>
                    <a:srgbClr val="000000"/>
                  </a:solidFill>
                </a:rPr>
                <a:t>FUENTE: Fuente</a:t>
              </a:r>
              <a:endParaRPr lang="es-MX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82159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00" smtClean="0">
                  <a:solidFill>
                    <a:srgbClr val="808080"/>
                  </a:solidFill>
                </a:rPr>
                <a:t>Unit of measure</a:t>
              </a:r>
              <a:endParaRPr lang="es-MX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90627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323" fontAlgn="base">
              <a:spcBef>
                <a:spcPct val="0"/>
              </a:spcBef>
              <a:spcAft>
                <a:spcPct val="0"/>
              </a:spcAft>
            </a:pPr>
            <a:r>
              <a:rPr lang="es-MX" sz="1200" smtClean="0">
                <a:solidFill>
                  <a:srgbClr val="000000"/>
                </a:solidFill>
              </a:rPr>
              <a:t>|</a:t>
            </a:r>
            <a:endParaRPr lang="es-MX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85726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  <p:sldLayoutId r:id="rId4"/>
  </p:sldLayoutIdLst>
  <p:hf hdr="0" ftr="0" dt="0"/>
  <p:txStyles>
    <p:titleStyle>
      <a:lvl1pPr algn="l" defTabSz="913323" rtl="0" eaLnBrk="1" fontAlgn="base" hangingPunct="1">
        <a:spcBef>
          <a:spcPct val="0"/>
        </a:spcBef>
        <a:spcAft>
          <a:spcPct val="0"/>
        </a:spcAft>
        <a:tabLst>
          <a:tab pos="36435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76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754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131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510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63" indent="-195943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76" indent="-267195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95" indent="-158697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6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54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31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10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87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63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41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17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79303321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18546" name="think-cell Slide" r:id="rId8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0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323" fontAlgn="base">
              <a:spcBef>
                <a:spcPct val="0"/>
              </a:spcBef>
              <a:spcAft>
                <a:spcPct val="0"/>
              </a:spcAft>
            </a:pPr>
            <a:endParaRPr lang="es-E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3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96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 smtClean="0">
                <a:solidFill>
                  <a:srgbClr val="808080"/>
                </a:solidFill>
              </a:rPr>
              <a:t>TRACKER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21490" y="542617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McK Slide Elements" hidden="1"/>
          <p:cNvGrpSpPr>
            <a:grpSpLocks/>
          </p:cNvGrpSpPr>
          <p:nvPr/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37" indent="-621837" defTabSz="913323" fontAlgn="base">
                <a:spcBef>
                  <a:spcPct val="0"/>
                </a:spcBef>
                <a:spcAft>
                  <a:spcPct val="0"/>
                </a:spcAft>
                <a:tabLst>
                  <a:tab pos="625075" algn="l"/>
                </a:tabLst>
              </a:pPr>
              <a:r>
                <a:rPr lang="es-ES" sz="1000" dirty="0" smtClean="0">
                  <a:solidFill>
                    <a:srgbClr val="000000"/>
                  </a:solidFill>
                </a:rPr>
                <a:t>FUENTE: Fuente</a:t>
              </a:r>
              <a:endParaRPr lang="es-E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159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196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 smtClean="0">
                  <a:solidFill>
                    <a:srgbClr val="808080"/>
                  </a:solidFill>
                </a:rPr>
                <a:t>Unit of measure</a:t>
              </a:r>
              <a:endParaRPr lang="es-E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7" y="6534058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323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5265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323" rtl="0" eaLnBrk="1" fontAlgn="base" hangingPunct="1">
        <a:spcBef>
          <a:spcPct val="0"/>
        </a:spcBef>
        <a:spcAft>
          <a:spcPct val="0"/>
        </a:spcAft>
        <a:tabLst>
          <a:tab pos="36435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76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754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131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510" algn="l" defTabSz="9133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63" indent="-195943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76" indent="-267195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95" indent="-158697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58" indent="-132788" algn="l" defTabSz="9133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6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54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31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10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87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63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41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17" algn="l" defTabSz="9327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54357422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19570" name="think-cell Slide" r:id="rId8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endParaRPr lang="es-E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 smtClean="0">
                <a:solidFill>
                  <a:srgbClr val="808080"/>
                </a:solidFill>
              </a:rPr>
              <a:t>TRACKER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McK Slide Elements" hidden="1"/>
          <p:cNvGrpSpPr>
            <a:grpSpLocks/>
          </p:cNvGrpSpPr>
          <p:nvPr/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03" indent="-621903" defTabSz="913419" fontAlgn="base">
                <a:spcBef>
                  <a:spcPct val="0"/>
                </a:spcBef>
                <a:spcAft>
                  <a:spcPct val="0"/>
                </a:spcAft>
                <a:tabLst>
                  <a:tab pos="625141" algn="l"/>
                </a:tabLst>
              </a:pPr>
              <a:r>
                <a:rPr lang="es-ES" sz="1000" dirty="0" smtClean="0">
                  <a:solidFill>
                    <a:srgbClr val="000000"/>
                  </a:solidFill>
                </a:rPr>
                <a:t>FUENTE: Fuente</a:t>
              </a:r>
              <a:endParaRPr lang="es-E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156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 smtClean="0">
                  <a:solidFill>
                    <a:srgbClr val="808080"/>
                  </a:solidFill>
                </a:rPr>
                <a:t>Unit of measure</a:t>
              </a:r>
              <a:endParaRPr lang="es-E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7" y="653405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6472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19" rtl="0" eaLnBrk="1" fontAlgn="base" hangingPunct="1">
        <a:spcBef>
          <a:spcPct val="0"/>
        </a:spcBef>
        <a:spcAft>
          <a:spcPct val="0"/>
        </a:spcAft>
        <a:tabLst>
          <a:tab pos="364396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6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3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9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07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4" indent="-19596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26" indent="-26722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2" indent="-15871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9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07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34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6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8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1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24679" name="think-cell Slide" r:id="rId14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s-MX" sz="81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89" y="234864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MX" smtClean="0"/>
              <a:t>Click to edit Master title style</a:t>
            </a:r>
            <a:endParaRPr lang="es-MX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90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MX" sz="1428" dirty="0" err="1">
                <a:solidFill>
                  <a:srgbClr val="808080"/>
                </a:solidFill>
              </a:rPr>
              <a:t>TRACKER</a:t>
            </a:r>
            <a:endParaRPr lang="es-MX" sz="1428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542616"/>
            <a:ext cx="879411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1632" smtClean="0">
                <a:solidFill>
                  <a:srgbClr val="808080"/>
                </a:solidFill>
              </a:rPr>
              <a:t>Unit of measure</a:t>
            </a:r>
            <a:endParaRPr lang="es-MX" sz="1632" dirty="0" smtClean="0">
              <a:solidFill>
                <a:srgbClr val="808080"/>
              </a:solidFill>
            </a:endParaRPr>
          </a:p>
        </p:txBody>
      </p:sp>
      <p:grpSp>
        <p:nvGrpSpPr>
          <p:cNvPr id="13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21488" y="6198769"/>
            <a:ext cx="8722841" cy="526418"/>
            <a:chOff x="75" y="3827"/>
            <a:chExt cx="5385" cy="325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MX" sz="1020" smtClean="0">
                  <a:solidFill>
                    <a:srgbClr val="000000"/>
                  </a:solidFill>
                  <a:latin typeface="Arial"/>
                </a:rPr>
                <a:t>1 Nota al pie</a:t>
              </a:r>
              <a:endParaRPr lang="es-MX" sz="102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MX" sz="1020">
                  <a:solidFill>
                    <a:srgbClr val="000000"/>
                  </a:solidFill>
                </a:rPr>
                <a:t>FUENTE: Fuente</a:t>
              </a:r>
              <a:endParaRPr lang="es-MX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1137061"/>
            <a:ext cx="4350892" cy="531276"/>
            <a:chOff x="915" y="702"/>
            <a:chExt cx="2686" cy="328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32" b="1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632">
                  <a:solidFill>
                    <a:srgbClr val="808080"/>
                  </a:solidFill>
                </a:rPr>
                <a:t>Unit of measure</a:t>
              </a:r>
              <a:endParaRPr lang="es-MX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90627" y="6534053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s-MX" sz="1224">
                <a:solidFill>
                  <a:srgbClr val="000000"/>
                </a:solidFill>
              </a:rPr>
              <a:t>|</a:t>
            </a:r>
            <a:endParaRPr lang="es-MX" sz="122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15512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5339139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26723" name="think-cell Slide" r:id="rId8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endParaRPr lang="es-E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 smtClean="0">
                <a:solidFill>
                  <a:srgbClr val="808080"/>
                </a:solidFill>
              </a:rPr>
              <a:t>TRACKER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McK Slide Elements" hidden="1"/>
          <p:cNvGrpSpPr>
            <a:grpSpLocks/>
          </p:cNvGrpSpPr>
          <p:nvPr/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03" indent="-621903" defTabSz="913419" fontAlgn="base">
                <a:spcBef>
                  <a:spcPct val="0"/>
                </a:spcBef>
                <a:spcAft>
                  <a:spcPct val="0"/>
                </a:spcAft>
                <a:tabLst>
                  <a:tab pos="625141" algn="l"/>
                </a:tabLst>
              </a:pPr>
              <a:r>
                <a:rPr lang="es-ES" sz="1000" dirty="0" smtClean="0">
                  <a:solidFill>
                    <a:srgbClr val="000000"/>
                  </a:solidFill>
                </a:rPr>
                <a:t>FUENTE: Fuente</a:t>
              </a:r>
              <a:endParaRPr lang="es-E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156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 smtClean="0">
                  <a:solidFill>
                    <a:srgbClr val="808080"/>
                  </a:solidFill>
                </a:rPr>
                <a:t>Unit of measure</a:t>
              </a:r>
              <a:endParaRPr lang="es-E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7" y="653405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68600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19" rtl="0" eaLnBrk="1" fontAlgn="base" hangingPunct="1">
        <a:spcBef>
          <a:spcPct val="0"/>
        </a:spcBef>
        <a:spcAft>
          <a:spcPct val="0"/>
        </a:spcAft>
        <a:tabLst>
          <a:tab pos="364396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6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3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9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07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4" indent="-19596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26" indent="-26722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2" indent="-15871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9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07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34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6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8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1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96988898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p:oleObj spid="_x0000_s27747" name="think-cell Slide" r:id="rId8" imgW="6350000" imgH="635000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endParaRPr lang="es-ES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34864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21489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93" fontAlgn="base">
              <a:spcBef>
                <a:spcPct val="0"/>
              </a:spcBef>
              <a:spcAft>
                <a:spcPct val="0"/>
              </a:spcAft>
            </a:pPr>
            <a:r>
              <a:rPr lang="es-ES" sz="1400" dirty="0" smtClean="0">
                <a:solidFill>
                  <a:srgbClr val="808080"/>
                </a:solidFill>
              </a:rPr>
              <a:t>TRACKER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21489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McK Slide Elements" hidden="1"/>
          <p:cNvGrpSpPr>
            <a:grpSpLocks/>
          </p:cNvGrpSpPr>
          <p:nvPr/>
        </p:nvGrpSpPr>
        <p:grpSpPr bwMode="auto">
          <a:xfrm>
            <a:off x="121489" y="6205250"/>
            <a:ext cx="8722840" cy="515079"/>
            <a:chOff x="75" y="3831"/>
            <a:chExt cx="5385" cy="318"/>
          </a:xfrm>
        </p:grpSpPr>
        <p:sp>
          <p:nvSpPr>
            <p:cNvPr id="14" name="McK 4. Footnote"/>
            <p:cNvSpPr txBox="1">
              <a:spLocks noChangeArrowheads="1"/>
            </p:cNvSpPr>
            <p:nvPr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03" indent="-621903" defTabSz="913419" fontAlgn="base">
                <a:spcBef>
                  <a:spcPct val="0"/>
                </a:spcBef>
                <a:spcAft>
                  <a:spcPct val="0"/>
                </a:spcAft>
                <a:tabLst>
                  <a:tab pos="625141" algn="l"/>
                </a:tabLst>
              </a:pPr>
              <a:r>
                <a:rPr lang="es-ES" sz="1000" dirty="0" smtClean="0">
                  <a:solidFill>
                    <a:srgbClr val="000000"/>
                  </a:solidFill>
                </a:rPr>
                <a:t>FUENTE: Fuente</a:t>
              </a:r>
              <a:endParaRPr lang="es-E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156" y="1150020"/>
            <a:ext cx="4350892" cy="518318"/>
            <a:chOff x="915" y="710"/>
            <a:chExt cx="2686" cy="32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914293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600" dirty="0" smtClean="0">
                  <a:solidFill>
                    <a:srgbClr val="808080"/>
                  </a:solidFill>
                </a:rPr>
                <a:t>Unit of measure</a:t>
              </a:r>
              <a:endParaRPr lang="es-ES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7" y="653405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419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25700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19" rtl="0" eaLnBrk="1" fontAlgn="base" hangingPunct="1">
        <a:spcBef>
          <a:spcPct val="0"/>
        </a:spcBef>
        <a:spcAft>
          <a:spcPct val="0"/>
        </a:spcAft>
        <a:tabLst>
          <a:tab pos="364396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6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3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9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07" algn="l" defTabSz="91341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4" indent="-19596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26" indent="-26722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2" indent="-158714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39" indent="-132803" algn="l" defTabSz="91341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9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07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34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60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86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13" algn="l" defTabSz="9328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B77F81E-ED57-2445-8AB6-2E6F915AA7F3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26/8/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EF4349C6-669D-6347-BB7B-95625954B5A9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‹Nr.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862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  <p:sldLayoutId r:id="rId4"/>
    <p:sldLayoutId r:id="rId5"/>
    <p:sldLayoutId r:id="rId6"/>
    <p:sldLayoutId r:id="rId7"/>
    <p:sldLayoutId r:id="rId8"/>
    <p:sldLayoutId r:id="rId9"/>
    <p:sldLayoutId r:id="rId10"/>
    <p:sldLayoutId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jpeg"/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5.xml"/><Relationship Id="rId2" Type="http://schemas.openxmlformats.org/officeDocument/2006/relationships/diagramData" Target="../diagrams/data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diagramQuickStyle" Target="../diagrams/quickStyle3.xml"/><Relationship Id="rId20" Type="http://schemas.openxmlformats.org/officeDocument/2006/relationships/diagramLayout" Target="../diagrams/layout6.xml"/><Relationship Id="rId21" Type="http://schemas.openxmlformats.org/officeDocument/2006/relationships/diagramQuickStyle" Target="../diagrams/quickStyle6.xml"/><Relationship Id="rId22" Type="http://schemas.openxmlformats.org/officeDocument/2006/relationships/diagramColors" Target="../diagrams/colors6.xml"/><Relationship Id="rId23" Type="http://schemas.openxmlformats.org/officeDocument/2006/relationships/diagramData" Target="../diagrams/data7.xml"/><Relationship Id="rId24" Type="http://schemas.openxmlformats.org/officeDocument/2006/relationships/diagramLayout" Target="../diagrams/layout7.xml"/><Relationship Id="rId25" Type="http://schemas.openxmlformats.org/officeDocument/2006/relationships/diagramQuickStyle" Target="../diagrams/quickStyle7.xml"/><Relationship Id="rId26" Type="http://schemas.openxmlformats.org/officeDocument/2006/relationships/diagramColors" Target="../diagrams/colors7.xml"/><Relationship Id="rId27" Type="http://schemas.microsoft.com/office/2007/relationships/diagramDrawing" Target="../diagrams/drawing5.xml"/><Relationship Id="rId28" Type="http://schemas.microsoft.com/office/2007/relationships/diagramDrawing" Target="../diagrams/drawing6.xml"/><Relationship Id="rId33" Type="http://schemas.microsoft.com/office/2007/relationships/diagramDrawing" Target="../diagrams/drawing4.xml"/><Relationship Id="rId34" Type="http://schemas.microsoft.com/office/2007/relationships/diagramDrawing" Target="../diagrams/drawing2.xml"/><Relationship Id="rId31" Type="http://schemas.microsoft.com/office/2007/relationships/diagramDrawing" Target="../diagrams/drawing7.xml"/><Relationship Id="rId32" Type="http://schemas.microsoft.com/office/2007/relationships/diagramDrawing" Target="../diagrams/drawing3.xml"/><Relationship Id="rId10" Type="http://schemas.openxmlformats.org/officeDocument/2006/relationships/diagramColors" Target="../diagrams/colors3.xml"/><Relationship Id="rId11" Type="http://schemas.openxmlformats.org/officeDocument/2006/relationships/diagramData" Target="../diagrams/data4.xml"/><Relationship Id="rId12" Type="http://schemas.openxmlformats.org/officeDocument/2006/relationships/diagramLayout" Target="../diagrams/layout4.xml"/><Relationship Id="rId13" Type="http://schemas.openxmlformats.org/officeDocument/2006/relationships/diagramQuickStyle" Target="../diagrams/quickStyle4.xml"/><Relationship Id="rId14" Type="http://schemas.openxmlformats.org/officeDocument/2006/relationships/diagramColors" Target="../diagrams/colors4.xml"/><Relationship Id="rId15" Type="http://schemas.openxmlformats.org/officeDocument/2006/relationships/diagramData" Target="../diagrams/data5.xml"/><Relationship Id="rId16" Type="http://schemas.openxmlformats.org/officeDocument/2006/relationships/diagramLayout" Target="../diagrams/layout5.xml"/><Relationship Id="rId17" Type="http://schemas.openxmlformats.org/officeDocument/2006/relationships/diagramQuickStyle" Target="../diagrams/quickStyle5.xml"/><Relationship Id="rId18" Type="http://schemas.openxmlformats.org/officeDocument/2006/relationships/diagramColors" Target="../diagrams/colors5.xml"/><Relationship Id="rId19" Type="http://schemas.openxmlformats.org/officeDocument/2006/relationships/diagramData" Target="../diagrams/data6.xml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3.xml"/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7.jpeg"/><Relationship Id="rId12" Type="http://schemas.openxmlformats.org/officeDocument/2006/relationships/image" Target="../media/image18.jpeg"/><Relationship Id="rId13" Type="http://schemas.openxmlformats.org/officeDocument/2006/relationships/image" Target="../media/image19.jpeg"/><Relationship Id="rId14" Type="http://schemas.microsoft.com/office/2007/relationships/diagramDrawing" Target="../diagrams/drawing8.xml"/><Relationship Id="rId1" Type="http://schemas.openxmlformats.org/officeDocument/2006/relationships/slideLayout" Target="../slideLayouts/slideLayout25.xml"/><Relationship Id="rId2" Type="http://schemas.openxmlformats.org/officeDocument/2006/relationships/diagramData" Target="../diagrams/data8.xml"/><Relationship Id="rId3" Type="http://schemas.openxmlformats.org/officeDocument/2006/relationships/diagramLayout" Target="../diagrams/layout8.xml"/><Relationship Id="rId4" Type="http://schemas.openxmlformats.org/officeDocument/2006/relationships/diagramQuickStyle" Target="../diagrams/quickStyle8.xml"/><Relationship Id="rId5" Type="http://schemas.openxmlformats.org/officeDocument/2006/relationships/diagramColors" Target="../diagrams/colors8.xml"/><Relationship Id="rId6" Type="http://schemas.openxmlformats.org/officeDocument/2006/relationships/image" Target="../media/image12.jpeg"/><Relationship Id="rId7" Type="http://schemas.openxmlformats.org/officeDocument/2006/relationships/image" Target="../media/image13.jpeg"/><Relationship Id="rId8" Type="http://schemas.openxmlformats.org/officeDocument/2006/relationships/image" Target="../media/image14.jpeg"/><Relationship Id="rId9" Type="http://schemas.openxmlformats.org/officeDocument/2006/relationships/image" Target="../media/image15.jpeg"/><Relationship Id="rId10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1219200"/>
            <a:ext cx="7772400" cy="2536825"/>
          </a:xfrm>
        </p:spPr>
        <p:txBody>
          <a:bodyPr>
            <a:normAutofit/>
          </a:bodyPr>
          <a:lstStyle/>
          <a:p>
            <a:r>
              <a:rPr lang="es-MX" dirty="0" smtClean="0"/>
              <a:t>La prevención como línea general</a:t>
            </a:r>
            <a:br>
              <a:rPr lang="es-MX" dirty="0" smtClean="0"/>
            </a:br>
            <a:r>
              <a:rPr lang="es-MX" dirty="0" smtClean="0"/>
              <a:t> prioritaria en la </a:t>
            </a:r>
            <a:br>
              <a:rPr lang="es-MX" dirty="0" smtClean="0"/>
            </a:br>
            <a:r>
              <a:rPr lang="es-MX" dirty="0" smtClean="0"/>
              <a:t>Mortalidad Materna</a:t>
            </a:r>
            <a:endParaRPr lang="en-US" dirty="0"/>
          </a:p>
        </p:txBody>
      </p:sp>
      <p:pic>
        <p:nvPicPr>
          <p:cNvPr id="4" name="Picture 9" descr="embarazo_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99480" y="3810000"/>
            <a:ext cx="2296520" cy="2743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Imagen 4" descr="academia nacional de Medicina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48600" y="152400"/>
            <a:ext cx="8382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6962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692696"/>
            <a:ext cx="8229600" cy="1143000"/>
          </a:xfrm>
        </p:spPr>
        <p:txBody>
          <a:bodyPr>
            <a:noAutofit/>
          </a:bodyPr>
          <a:lstStyle/>
          <a:p>
            <a:r>
              <a:rPr lang="en-US" sz="28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rategias</a:t>
            </a:r>
            <a:r>
              <a:rPr lang="en-US" sz="28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ara </a:t>
            </a:r>
            <a:r>
              <a:rPr lang="en-US" sz="28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minuir</a:t>
            </a:r>
            <a:r>
              <a:rPr lang="en-US" sz="28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 </a:t>
            </a:r>
            <a:r>
              <a:rPr lang="en-US" sz="28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talidad</a:t>
            </a:r>
            <a:r>
              <a:rPr lang="en-US" sz="28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rna</a:t>
            </a:r>
            <a:r>
              <a:rPr lang="en-US" sz="28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sz="2800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609600" y="1484784"/>
            <a:ext cx="800100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_tradnl" sz="2400" dirty="0" smtClean="0"/>
          </a:p>
          <a:p>
            <a:pPr>
              <a:buClr>
                <a:srgbClr val="FF6600"/>
              </a:buClr>
              <a:buSzPct val="95000"/>
              <a:buFont typeface="Arial"/>
              <a:buChar char="•"/>
            </a:pPr>
            <a:r>
              <a:rPr lang="es-ES_tradnl" sz="2400" dirty="0" smtClean="0"/>
              <a:t> </a:t>
            </a:r>
            <a:r>
              <a:rPr lang="es-ES_tradnl" sz="2400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enir</a:t>
            </a:r>
            <a:r>
              <a:rPr lang="es-ES_tradnl" sz="2400" dirty="0" smtClean="0"/>
              <a:t> embarazos en condiciones de riesgo a través de elevar la protección anticonceptiva en grupos con rezago o en riesgo.</a:t>
            </a:r>
          </a:p>
          <a:p>
            <a:pPr>
              <a:buClr>
                <a:srgbClr val="FF6600"/>
              </a:buClr>
              <a:buSzPct val="95000"/>
              <a:buFont typeface="Arial"/>
              <a:buChar char="•"/>
            </a:pPr>
            <a:r>
              <a:rPr lang="es-ES_tradnl" sz="2400" dirty="0" smtClean="0"/>
              <a:t> </a:t>
            </a:r>
            <a:r>
              <a:rPr lang="es-ES_tradnl" sz="2400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enir</a:t>
            </a:r>
            <a:r>
              <a:rPr lang="es-ES_tradnl" sz="2400" dirty="0" smtClean="0"/>
              <a:t> las complicaciones graves durante el embarazo, parto y puerperio</a:t>
            </a:r>
          </a:p>
          <a:p>
            <a:pPr>
              <a:buClr>
                <a:srgbClr val="FF6600"/>
              </a:buClr>
              <a:buSzPct val="95000"/>
              <a:buFont typeface="Arial"/>
              <a:buChar char="•"/>
            </a:pPr>
            <a:r>
              <a:rPr lang="es-ES_tradnl" sz="2400" dirty="0" smtClean="0"/>
              <a:t> Fortalecer la atención oportuna y efectiva de las urgencias obstétricas.</a:t>
            </a:r>
          </a:p>
          <a:p>
            <a:pPr>
              <a:buClr>
                <a:srgbClr val="FF6600"/>
              </a:buClr>
              <a:buSzPct val="95000"/>
              <a:buFont typeface="Arial"/>
              <a:buChar char="•"/>
            </a:pPr>
            <a:r>
              <a:rPr lang="es-ES_tradnl" sz="2400" dirty="0" smtClean="0"/>
              <a:t> Disponer de un sistema de información de mortalidad materna, confiable, oportuno y que permita el monitoreo hasta el nivel de unidad médica. </a:t>
            </a:r>
          </a:p>
          <a:p>
            <a:pPr>
              <a:buFontTx/>
              <a:buChar char="•"/>
            </a:pPr>
            <a:endParaRPr lang="es-ES_tradnl" sz="2400" dirty="0" smtClean="0"/>
          </a:p>
          <a:p>
            <a:pPr>
              <a:buFontTx/>
              <a:buChar char="•"/>
            </a:pPr>
            <a:endParaRPr lang="es-ES_tradnl" sz="24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9928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701824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ción</a:t>
            </a:r>
            <a:r>
              <a:rPr lang="en-US" sz="36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 la </a:t>
            </a:r>
            <a:r>
              <a:rPr lang="en-US" sz="3600" dirty="0" err="1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</a:t>
            </a:r>
            <a:r>
              <a:rPr lang="en-US" sz="36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talidad</a:t>
            </a:r>
            <a:r>
              <a:rPr lang="en-US" sz="36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3600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rna</a:t>
            </a:r>
            <a:endParaRPr lang="en-US" sz="3600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fontAlgn="base"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r>
              <a:rPr lang="es-ES" dirty="0" smtClean="0"/>
              <a:t>La </a:t>
            </a:r>
            <a:r>
              <a:rPr lang="es-ES" dirty="0"/>
              <a:t>mayoría de las muertes maternas </a:t>
            </a:r>
            <a:r>
              <a:rPr lang="es-ES" b="1" dirty="0"/>
              <a:t>son evitables</a:t>
            </a:r>
            <a:r>
              <a:rPr lang="es-ES" dirty="0"/>
              <a:t>.</a:t>
            </a:r>
            <a:r>
              <a:rPr lang="es-ES" dirty="0" smtClean="0"/>
              <a:t> </a:t>
            </a:r>
          </a:p>
          <a:p>
            <a:pPr fontAlgn="base"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r>
              <a:rPr lang="es-ES" dirty="0" smtClean="0"/>
              <a:t>Todas </a:t>
            </a:r>
            <a:r>
              <a:rPr lang="es-ES" dirty="0"/>
              <a:t>las mujeres necesitan </a:t>
            </a:r>
            <a:r>
              <a:rPr lang="es-ES" b="1" dirty="0"/>
              <a:t>acceso a la atención prenatal </a:t>
            </a:r>
            <a:r>
              <a:rPr lang="es-ES" dirty="0"/>
              <a:t>durante la gestación, a la atención especializada durante el parto, y a la atención y apoyo en las primeras semanas tras el parto</a:t>
            </a:r>
            <a:r>
              <a:rPr lang="es-ES" dirty="0" smtClean="0"/>
              <a:t>.</a:t>
            </a:r>
          </a:p>
          <a:p>
            <a:pPr fontAlgn="base"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r>
              <a:rPr lang="es-ES" dirty="0" smtClean="0"/>
              <a:t> </a:t>
            </a:r>
            <a:r>
              <a:rPr lang="es-ES" dirty="0"/>
              <a:t>Es particularmente importante que todos los partos sean </a:t>
            </a:r>
            <a:r>
              <a:rPr lang="es-ES" b="1" dirty="0"/>
              <a:t>atendidos por profesionales </a:t>
            </a:r>
            <a:r>
              <a:rPr lang="es-ES" b="1" dirty="0" smtClean="0"/>
              <a:t>especializados</a:t>
            </a:r>
            <a:r>
              <a:rPr lang="es-ES" dirty="0"/>
              <a:t>, </a:t>
            </a:r>
            <a:r>
              <a:rPr lang="es-ES" dirty="0" smtClean="0"/>
              <a:t>ya </a:t>
            </a:r>
            <a:r>
              <a:rPr lang="es-ES" dirty="0"/>
              <a:t>que la conducta clínica apropiada y el tratamiento a tiempo pueden suponer la diferencia entre la vida y la muerte.</a:t>
            </a:r>
            <a:endParaRPr lang="es-ES" dirty="0" smtClean="0"/>
          </a:p>
          <a:p>
            <a:pPr fontAlgn="base"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r>
              <a:rPr lang="es-ES" dirty="0"/>
              <a:t>E</a:t>
            </a:r>
            <a:r>
              <a:rPr lang="es-ES" dirty="0" smtClean="0"/>
              <a:t>s </a:t>
            </a:r>
            <a:r>
              <a:rPr lang="es-ES" dirty="0"/>
              <a:t>fundamental que se </a:t>
            </a:r>
            <a:r>
              <a:rPr lang="es-ES" b="1" dirty="0"/>
              <a:t>eviten los embarazos no deseados </a:t>
            </a:r>
            <a:r>
              <a:rPr lang="es-ES" dirty="0"/>
              <a:t>o a edades demasiado tempranas.</a:t>
            </a:r>
            <a:r>
              <a:rPr lang="es-ES" dirty="0" smtClean="0"/>
              <a:t> </a:t>
            </a:r>
          </a:p>
          <a:p>
            <a:pPr fontAlgn="base"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r>
              <a:rPr lang="es-ES" dirty="0" smtClean="0"/>
              <a:t>Todas </a:t>
            </a:r>
            <a:r>
              <a:rPr lang="es-ES" dirty="0"/>
              <a:t>las mujeres, y en particular las adolescentes, deben tener </a:t>
            </a:r>
            <a:r>
              <a:rPr lang="es-ES" b="1" dirty="0"/>
              <a:t>acceso a la contracepción</a:t>
            </a:r>
            <a:r>
              <a:rPr lang="es-ES" dirty="0"/>
              <a:t>, a servicios que realicen abortos seguros en la medida en que la legislación lo permita, y a una atención de calidad </a:t>
            </a:r>
            <a:r>
              <a:rPr lang="es-ES" dirty="0" smtClean="0"/>
              <a:t>después de un aborto</a:t>
            </a:r>
            <a:r>
              <a:rPr lang="es-ES" dirty="0"/>
              <a:t>.</a:t>
            </a:r>
          </a:p>
          <a:p>
            <a:pPr>
              <a:buClr>
                <a:srgbClr val="FF6600"/>
              </a:buClr>
              <a:buSzPct val="85000"/>
              <a:buFont typeface="Wingdings" panose="05000000000000000000" pitchFamily="2" charset="2"/>
              <a:buChar char="v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42981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692696"/>
            <a:ext cx="8229600" cy="1143000"/>
          </a:xfrm>
        </p:spPr>
        <p:txBody>
          <a:bodyPr>
            <a:noAutofit/>
          </a:bodyPr>
          <a:lstStyle/>
          <a:p>
            <a:r>
              <a:rPr lang="en-US" sz="2800" b="1" dirty="0" err="1" smtClean="0"/>
              <a:t>Pasos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para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disminuir</a:t>
            </a:r>
            <a:r>
              <a:rPr lang="en-US" sz="2800" b="1" dirty="0" smtClean="0"/>
              <a:t> la </a:t>
            </a:r>
            <a:r>
              <a:rPr lang="en-US" sz="2800" b="1" dirty="0" err="1" smtClean="0"/>
              <a:t>Mortalidada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Materna</a:t>
            </a:r>
            <a:r>
              <a:rPr lang="en-US" sz="2800" b="1" dirty="0" smtClean="0"/>
              <a:t> </a:t>
            </a:r>
            <a:endParaRPr lang="en-US" sz="2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1772816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buNone/>
            </a:pPr>
            <a:r>
              <a:rPr lang="es-ES" dirty="0" smtClean="0">
                <a:solidFill>
                  <a:srgbClr val="CC0000"/>
                </a:solidFill>
              </a:rPr>
              <a:t>Considerar </a:t>
            </a:r>
            <a:r>
              <a:rPr lang="es-ES" dirty="0">
                <a:solidFill>
                  <a:srgbClr val="CC0000"/>
                </a:solidFill>
              </a:rPr>
              <a:t>la M.M. como un problema de </a:t>
            </a:r>
            <a:r>
              <a:rPr lang="es-ES" b="1" dirty="0" smtClean="0">
                <a:solidFill>
                  <a:srgbClr val="CC0000"/>
                </a:solidFill>
              </a:rPr>
              <a:t>derechos humanos </a:t>
            </a:r>
            <a:r>
              <a:rPr lang="es-ES" b="1" dirty="0">
                <a:solidFill>
                  <a:srgbClr val="CC0000"/>
                </a:solidFill>
              </a:rPr>
              <a:t>y de justicia </a:t>
            </a:r>
            <a:r>
              <a:rPr lang="es-ES" b="1" dirty="0" smtClean="0">
                <a:solidFill>
                  <a:srgbClr val="CC0000"/>
                </a:solidFill>
              </a:rPr>
              <a:t>social</a:t>
            </a:r>
            <a:endParaRPr lang="es-ES" dirty="0">
              <a:solidFill>
                <a:srgbClr val="CC0000"/>
              </a:solidFill>
            </a:endParaRPr>
          </a:p>
          <a:p>
            <a:pPr marL="0" indent="0">
              <a:buNone/>
            </a:pPr>
            <a:endParaRPr lang="es-ES" dirty="0"/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dirty="0" smtClean="0"/>
              <a:t>Reconocer </a:t>
            </a:r>
            <a:r>
              <a:rPr lang="es-ES" dirty="0"/>
              <a:t>que </a:t>
            </a:r>
            <a:r>
              <a:rPr lang="es-ES" b="1" dirty="0"/>
              <a:t>todo embarazo tiene algún riesgo</a:t>
            </a:r>
            <a:r>
              <a:rPr lang="es-ES" dirty="0"/>
              <a:t>.</a:t>
            </a:r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dirty="0" smtClean="0"/>
              <a:t>Asegurar </a:t>
            </a:r>
            <a:r>
              <a:rPr lang="es-ES" b="1" dirty="0"/>
              <a:t>personal capacitado </a:t>
            </a:r>
            <a:r>
              <a:rPr lang="es-ES" dirty="0"/>
              <a:t>para atender el parto.</a:t>
            </a:r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b="1" dirty="0" smtClean="0"/>
              <a:t>Promover </a:t>
            </a:r>
            <a:r>
              <a:rPr lang="es-ES" b="1" dirty="0"/>
              <a:t>la salud materna como una </a:t>
            </a:r>
            <a:r>
              <a:rPr lang="es-ES" b="1" dirty="0" smtClean="0"/>
              <a:t>inversión </a:t>
            </a:r>
            <a:r>
              <a:rPr lang="en-US" b="1" dirty="0" err="1" smtClean="0"/>
              <a:t>económica</a:t>
            </a:r>
            <a:r>
              <a:rPr lang="en-US" b="1" dirty="0" smtClean="0"/>
              <a:t> </a:t>
            </a:r>
            <a:r>
              <a:rPr lang="en-US" b="1" dirty="0"/>
              <a:t>y social vital :</a:t>
            </a:r>
          </a:p>
          <a:p>
            <a:pPr marL="0" indent="0">
              <a:buClr>
                <a:srgbClr val="FF9933"/>
              </a:buClr>
              <a:buNone/>
            </a:pPr>
            <a:r>
              <a:rPr lang="en-US" dirty="0"/>
              <a:t>	</a:t>
            </a:r>
            <a:r>
              <a:rPr lang="en-US" dirty="0" smtClean="0"/>
              <a:t>	* </a:t>
            </a:r>
            <a:r>
              <a:rPr lang="en-US" dirty="0" err="1" smtClean="0"/>
              <a:t>Postergar</a:t>
            </a:r>
            <a:r>
              <a:rPr lang="en-US" dirty="0" smtClean="0"/>
              <a:t> </a:t>
            </a:r>
            <a:r>
              <a:rPr lang="en-US" dirty="0"/>
              <a:t>la </a:t>
            </a:r>
            <a:r>
              <a:rPr lang="en-US" dirty="0" err="1" smtClean="0"/>
              <a:t>maternidad</a:t>
            </a:r>
            <a:r>
              <a:rPr lang="en-US" dirty="0" smtClean="0"/>
              <a:t>.</a:t>
            </a:r>
          </a:p>
          <a:p>
            <a:pPr marL="0" indent="0">
              <a:buClr>
                <a:srgbClr val="FF9933"/>
              </a:buClr>
              <a:buNone/>
            </a:pPr>
            <a:r>
              <a:rPr lang="en-US" dirty="0" smtClean="0"/>
              <a:t>		* </a:t>
            </a:r>
            <a:r>
              <a:rPr lang="en-US" dirty="0" err="1" smtClean="0"/>
              <a:t>Prevenir</a:t>
            </a:r>
            <a:r>
              <a:rPr lang="en-US" dirty="0" smtClean="0"/>
              <a:t> </a:t>
            </a:r>
            <a:r>
              <a:rPr lang="en-US" dirty="0" err="1"/>
              <a:t>embarazo</a:t>
            </a:r>
            <a:r>
              <a:rPr lang="en-US" dirty="0"/>
              <a:t> no </a:t>
            </a:r>
            <a:r>
              <a:rPr lang="en-US" dirty="0" err="1"/>
              <a:t>deseado</a:t>
            </a:r>
            <a:r>
              <a:rPr lang="en-US" dirty="0"/>
              <a:t>.</a:t>
            </a:r>
          </a:p>
          <a:p>
            <a:pPr marL="0" indent="0">
              <a:buClr>
                <a:srgbClr val="FF9933"/>
              </a:buClr>
              <a:buNone/>
            </a:pPr>
            <a:r>
              <a:rPr lang="es-ES" dirty="0"/>
              <a:t>	</a:t>
            </a:r>
            <a:r>
              <a:rPr lang="es-ES" dirty="0" smtClean="0"/>
              <a:t>	* Prevenir </a:t>
            </a:r>
            <a:r>
              <a:rPr lang="es-ES" dirty="0"/>
              <a:t>el aborto no seguro.</a:t>
            </a:r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dirty="0" smtClean="0"/>
              <a:t>Facilitar </a:t>
            </a:r>
            <a:r>
              <a:rPr lang="es-ES" dirty="0"/>
              <a:t>el </a:t>
            </a:r>
            <a:r>
              <a:rPr lang="es-ES" b="1" dirty="0"/>
              <a:t>acceso </a:t>
            </a:r>
            <a:r>
              <a:rPr lang="es-ES" dirty="0"/>
              <a:t>a los servicios de salud materna.</a:t>
            </a:r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dirty="0" smtClean="0"/>
              <a:t>Mejorar </a:t>
            </a:r>
            <a:r>
              <a:rPr lang="es-ES" dirty="0"/>
              <a:t>la </a:t>
            </a:r>
            <a:r>
              <a:rPr lang="es-ES" b="1" dirty="0"/>
              <a:t>calidad </a:t>
            </a:r>
            <a:r>
              <a:rPr lang="es-ES" dirty="0"/>
              <a:t>de los servicios de salud materna.</a:t>
            </a:r>
          </a:p>
          <a:p>
            <a:pPr>
              <a:buClr>
                <a:srgbClr val="FF9933"/>
              </a:buClr>
              <a:buFont typeface="Wingdings" panose="05000000000000000000" pitchFamily="2" charset="2"/>
              <a:buChar char="v"/>
            </a:pPr>
            <a:r>
              <a:rPr lang="es-ES" dirty="0" smtClean="0"/>
              <a:t>Supervisar </a:t>
            </a:r>
            <a:r>
              <a:rPr lang="es-ES" dirty="0"/>
              <a:t>y evaluar los cambio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2768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701824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ol Prenatal </a:t>
            </a:r>
            <a:r>
              <a:rPr lang="en-US" sz="3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ortuno</a:t>
            </a:r>
            <a:r>
              <a:rPr lang="en-US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3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</a:t>
            </a:r>
            <a:r>
              <a:rPr lang="en-US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3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ficiente</a:t>
            </a:r>
            <a:endParaRPr lang="en-US" sz="36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827584" y="1700808"/>
            <a:ext cx="770485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ES_tradnl" sz="2400" dirty="0" smtClean="0"/>
              <a:t>Censo de embarazadas</a:t>
            </a:r>
          </a:p>
          <a:p>
            <a:pPr marL="342900" indent="-342900">
              <a:buAutoNum type="arabicPeriod"/>
            </a:pPr>
            <a:r>
              <a:rPr lang="es-ES_tradnl" sz="2400" b="1" dirty="0" smtClean="0"/>
              <a:t>Vigilancia activa </a:t>
            </a:r>
            <a:r>
              <a:rPr lang="es-ES_tradnl" sz="2400" dirty="0" smtClean="0"/>
              <a:t>de los embarazos</a:t>
            </a:r>
          </a:p>
          <a:p>
            <a:pPr marL="342900" indent="-342900">
              <a:buAutoNum type="arabicPeriod"/>
            </a:pPr>
            <a:r>
              <a:rPr lang="es-ES_tradnl" sz="2400" dirty="0" smtClean="0"/>
              <a:t>Calificación, actualización y evaluación del riesgo obstétrico</a:t>
            </a:r>
          </a:p>
          <a:p>
            <a:pPr marL="342900" indent="-342900">
              <a:buAutoNum type="arabicPeriod"/>
            </a:pPr>
            <a:r>
              <a:rPr lang="es-ES_tradnl" sz="2400" dirty="0" smtClean="0"/>
              <a:t>Capacitación a embarazadas sobre </a:t>
            </a:r>
            <a:r>
              <a:rPr lang="es-ES_tradnl" sz="2400" b="1" dirty="0" smtClean="0"/>
              <a:t>signos y síntomas de riesgo</a:t>
            </a:r>
          </a:p>
          <a:p>
            <a:pPr marL="342900" indent="-342900">
              <a:buAutoNum type="arabicPeriod"/>
            </a:pPr>
            <a:r>
              <a:rPr lang="es-ES_tradnl" sz="2400" dirty="0" smtClean="0"/>
              <a:t>Referencia “supervisada y certificada” de los embarazos</a:t>
            </a:r>
          </a:p>
          <a:p>
            <a:pPr marL="342900" indent="-342900">
              <a:buAutoNum type="arabicPeriod"/>
            </a:pPr>
            <a:r>
              <a:rPr lang="es-ES_tradnl" sz="2400" dirty="0" smtClean="0"/>
              <a:t>Definición en forma compartida con la paciente del sitio de atención del parto</a:t>
            </a:r>
          </a:p>
          <a:p>
            <a:pPr marL="342900" indent="-342900">
              <a:buAutoNum type="arabicPeriod"/>
            </a:pPr>
            <a:r>
              <a:rPr lang="es-ES_tradnl" sz="2400" dirty="0" smtClean="0"/>
              <a:t>Consejería de anticoncepción</a:t>
            </a:r>
          </a:p>
          <a:p>
            <a:endParaRPr lang="es-ES_tradnl" sz="2400" dirty="0" smtClean="0"/>
          </a:p>
          <a:p>
            <a:r>
              <a:rPr lang="es-ES_tradnl" sz="2400" dirty="0" smtClean="0"/>
              <a:t>** apegado a las </a:t>
            </a:r>
            <a:r>
              <a:rPr lang="es-ES_tradnl" sz="2400" dirty="0" err="1" smtClean="0"/>
              <a:t>NOMs</a:t>
            </a:r>
            <a:r>
              <a:rPr lang="es-ES_tradnl" sz="2400" dirty="0" smtClean="0"/>
              <a:t> 005 y 007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1768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1143000"/>
          </a:xfrm>
        </p:spPr>
        <p:txBody>
          <a:bodyPr>
            <a:normAutofit/>
          </a:bodyPr>
          <a:lstStyle/>
          <a:p>
            <a:r>
              <a:rPr lang="es-MX" sz="3200" dirty="0" smtClean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ta crítica para la vigilancia del embarazo</a:t>
            </a:r>
            <a:endParaRPr lang="en-US" sz="3200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05789" y="1484784"/>
            <a:ext cx="6932422" cy="499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17587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Marcador de conteni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14300013"/>
              </p:ext>
            </p:extLst>
          </p:nvPr>
        </p:nvGraphicFramePr>
        <p:xfrm>
          <a:off x="446856" y="1052736"/>
          <a:ext cx="8229600" cy="5102027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83468566"/>
              </p:ext>
            </p:extLst>
          </p:nvPr>
        </p:nvGraphicFramePr>
        <p:xfrm>
          <a:off x="510952" y="1772816"/>
          <a:ext cx="1828800" cy="11430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2483768" y="1882651"/>
            <a:ext cx="1152128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_tradnl" sz="1200" dirty="0" smtClean="0"/>
              <a:t>Calidad de la atención médica</a:t>
            </a:r>
            <a:endParaRPr lang="es-ES_tradnl" sz="1200" dirty="0"/>
          </a:p>
        </p:txBody>
      </p:sp>
      <p:sp>
        <p:nvSpPr>
          <p:cNvPr id="8" name="CuadroTexto 7"/>
          <p:cNvSpPr txBox="1"/>
          <p:nvPr/>
        </p:nvSpPr>
        <p:spPr>
          <a:xfrm>
            <a:off x="2480320" y="3789040"/>
            <a:ext cx="1155576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_tradnl" sz="1200" dirty="0" smtClean="0"/>
              <a:t>Acceso universal para la atención </a:t>
            </a:r>
            <a:endParaRPr lang="es-ES_tradnl" sz="1200" dirty="0"/>
          </a:p>
        </p:txBody>
      </p:sp>
      <p:sp>
        <p:nvSpPr>
          <p:cNvPr id="9" name="CuadroTexto 8"/>
          <p:cNvSpPr txBox="1"/>
          <p:nvPr/>
        </p:nvSpPr>
        <p:spPr>
          <a:xfrm>
            <a:off x="2483768" y="5157192"/>
            <a:ext cx="1224136" cy="120032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_tradnl" sz="1200" dirty="0" smtClean="0"/>
              <a:t>Equidad, permitir que la mujer pueda tomar la decisión de buscar atención</a:t>
            </a:r>
            <a:endParaRPr lang="es-ES_tradnl" sz="1200" dirty="0"/>
          </a:p>
        </p:txBody>
      </p:sp>
      <p:graphicFrame>
        <p:nvGraphicFramePr>
          <p:cNvPr id="10" name="Diagrama 9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1091341"/>
              </p:ext>
            </p:extLst>
          </p:nvPr>
        </p:nvGraphicFramePr>
        <p:xfrm>
          <a:off x="3886200" y="1524000"/>
          <a:ext cx="5105400" cy="14478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1" name="Diagrama 10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33791496"/>
              </p:ext>
            </p:extLst>
          </p:nvPr>
        </p:nvGraphicFramePr>
        <p:xfrm>
          <a:off x="4038600" y="3530600"/>
          <a:ext cx="5105400" cy="1422400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91689104"/>
              </p:ext>
            </p:extLst>
          </p:nvPr>
        </p:nvGraphicFramePr>
        <p:xfrm>
          <a:off x="4267200" y="5334000"/>
          <a:ext cx="4419600" cy="1191344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16" name="Diagrama 15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04433044"/>
              </p:ext>
            </p:extLst>
          </p:nvPr>
        </p:nvGraphicFramePr>
        <p:xfrm>
          <a:off x="539552" y="3429000"/>
          <a:ext cx="1670248" cy="1138808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graphicFrame>
        <p:nvGraphicFramePr>
          <p:cNvPr id="17" name="Diagrama 16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7725497"/>
              </p:ext>
            </p:extLst>
          </p:nvPr>
        </p:nvGraphicFramePr>
        <p:xfrm>
          <a:off x="539552" y="5157192"/>
          <a:ext cx="1670248" cy="1059904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3" name="Right Arrow 2"/>
          <p:cNvSpPr/>
          <p:nvPr/>
        </p:nvSpPr>
        <p:spPr>
          <a:xfrm>
            <a:off x="3743908" y="2060848"/>
            <a:ext cx="216024" cy="216024"/>
          </a:xfrm>
          <a:prstGeom prst="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3800719" y="4004193"/>
            <a:ext cx="216024" cy="216024"/>
          </a:xfrm>
          <a:prstGeom prst="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3864751" y="5649344"/>
            <a:ext cx="216024" cy="216024"/>
          </a:xfrm>
          <a:prstGeom prst="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24913147"/>
              </p:ext>
            </p:extLst>
          </p:nvPr>
        </p:nvGraphicFramePr>
        <p:xfrm>
          <a:off x="457200" y="1124744"/>
          <a:ext cx="8229600" cy="5001419"/>
        </p:xfrm>
        <a:graphic>
          <a:graphicData uri="http://schemas.openxmlformats.org/drawingml/2006/diagram">
            <a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7514489" y="2780928"/>
            <a:ext cx="1292897" cy="8610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6314903" y="188640"/>
            <a:ext cx="2373806" cy="15151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767849" y="5601368"/>
            <a:ext cx="1609903" cy="10988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6948263" y="5405482"/>
            <a:ext cx="1740445" cy="12667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55776" y="5661105"/>
            <a:ext cx="1818157" cy="10082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733897" y="5496417"/>
            <a:ext cx="1527455" cy="11622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539552" y="1147415"/>
            <a:ext cx="2234387" cy="13769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Imagen 13" descr="IMG_4188.jpe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7200" y="3276600"/>
            <a:ext cx="1942272" cy="12954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85146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 smtClean="0"/>
              <a:t>“ Tenemos ante nosotros la oportunidad de lograr progresos reales y perdurables porque los líderes del mundo reconocen cada vez mas </a:t>
            </a:r>
            <a:r>
              <a:rPr lang="es-MX" b="1" dirty="0" smtClean="0"/>
              <a:t>que la salud de las mujeres y los niños es la clave del progreso para todos los objetivos de desarrollo</a:t>
            </a:r>
            <a:r>
              <a:rPr lang="es-MX" dirty="0" smtClean="0"/>
              <a:t>”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699792" y="4941168"/>
            <a:ext cx="46154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dirty="0" err="1"/>
              <a:t>Ban</a:t>
            </a:r>
            <a:r>
              <a:rPr lang="es-ES_tradnl" dirty="0"/>
              <a:t> </a:t>
            </a:r>
            <a:r>
              <a:rPr lang="es-ES_tradnl" dirty="0" smtClean="0"/>
              <a:t>Ki-</a:t>
            </a:r>
            <a:r>
              <a:rPr lang="es-ES_tradnl" dirty="0" err="1" smtClean="0"/>
              <a:t>moom</a:t>
            </a:r>
            <a:endParaRPr lang="es-ES_tradnl" dirty="0" smtClean="0"/>
          </a:p>
          <a:p>
            <a:r>
              <a:rPr lang="es-MX" dirty="0"/>
              <a:t>Secretario General de las Naciones Unidas</a:t>
            </a:r>
          </a:p>
          <a:p>
            <a:endParaRPr lang="es-ES_tradnl" dirty="0"/>
          </a:p>
        </p:txBody>
      </p:sp>
      <p:sp>
        <p:nvSpPr>
          <p:cNvPr id="5" name="TextBox 3"/>
          <p:cNvSpPr txBox="1"/>
          <p:nvPr/>
        </p:nvSpPr>
        <p:spPr>
          <a:xfrm>
            <a:off x="2123728" y="5984413"/>
            <a:ext cx="66247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 smtClean="0"/>
              <a:t>Estrategia Mundial de salud de las mujeres y los niños. </a:t>
            </a:r>
          </a:p>
          <a:p>
            <a:r>
              <a:rPr lang="es-MX" sz="1400" dirty="0" smtClean="0"/>
              <a:t>Nueva York, septiembre 2010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37079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9144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TALIDAD MATERNA</a:t>
            </a:r>
            <a:br>
              <a:rPr lang="en-US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OMS)</a:t>
            </a:r>
            <a:endParaRPr lang="en-US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133601"/>
            <a:ext cx="8229600" cy="3886200"/>
          </a:xfrm>
        </p:spPr>
        <p:txBody>
          <a:bodyPr>
            <a:noAutofit/>
          </a:bodyPr>
          <a:lstStyle/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 smtClean="0"/>
              <a:t>Cada </a:t>
            </a:r>
            <a:r>
              <a:rPr lang="es-ES" sz="2000" dirty="0"/>
              <a:t>día mueren</a:t>
            </a:r>
            <a:r>
              <a:rPr lang="es-ES" sz="2000" dirty="0" smtClean="0"/>
              <a:t> aproximadamente  </a:t>
            </a:r>
            <a:r>
              <a:rPr lang="es-ES" sz="2000" b="1" dirty="0"/>
              <a:t>800 mujeres </a:t>
            </a:r>
            <a:r>
              <a:rPr lang="es-ES" sz="2000" dirty="0"/>
              <a:t>por </a:t>
            </a:r>
            <a:r>
              <a:rPr lang="es-ES" sz="2000" u="sng" dirty="0"/>
              <a:t>causas prevenibles </a:t>
            </a:r>
            <a:r>
              <a:rPr lang="es-ES" sz="2000" dirty="0"/>
              <a:t>relacionadas con el embarazo y el parto.</a:t>
            </a:r>
          </a:p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/>
              <a:t>Un </a:t>
            </a:r>
            <a:r>
              <a:rPr lang="es-ES" sz="2000" b="1" dirty="0"/>
              <a:t>99% de la mortalidad materna </a:t>
            </a:r>
            <a:r>
              <a:rPr lang="es-ES" sz="2000" dirty="0"/>
              <a:t>corresponde a los países en desarrollo.</a:t>
            </a:r>
          </a:p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/>
              <a:t>La mortalidad materna es mayor en las </a:t>
            </a:r>
            <a:r>
              <a:rPr lang="es-ES" sz="2000" b="1" dirty="0"/>
              <a:t>zonas rurales y en las comunidades más pobres.</a:t>
            </a:r>
          </a:p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/>
              <a:t>En comparación con las mujeres de más edad, las</a:t>
            </a:r>
            <a:r>
              <a:rPr lang="es-ES" sz="2000" dirty="0" smtClean="0"/>
              <a:t> </a:t>
            </a:r>
            <a:r>
              <a:rPr lang="es-ES" sz="2000" b="1" dirty="0" smtClean="0"/>
              <a:t>adolescentes</a:t>
            </a:r>
            <a:r>
              <a:rPr lang="es-ES" sz="2000" dirty="0" smtClean="0"/>
              <a:t> </a:t>
            </a:r>
            <a:r>
              <a:rPr lang="es-ES" sz="2000" dirty="0"/>
              <a:t>corren mayor riesgo de complicaciones y muerte a consecuencia del embarazo.</a:t>
            </a:r>
          </a:p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/>
              <a:t>La </a:t>
            </a:r>
            <a:r>
              <a:rPr lang="es-ES" sz="2000" b="1" dirty="0"/>
              <a:t>atención especializada</a:t>
            </a:r>
            <a:r>
              <a:rPr lang="es-ES" sz="2000" dirty="0"/>
              <a:t> antes, durante y después del parto puede </a:t>
            </a:r>
            <a:r>
              <a:rPr lang="es-ES" sz="2000" u="sng" dirty="0"/>
              <a:t>salvarles la vida </a:t>
            </a:r>
            <a:r>
              <a:rPr lang="es-ES" sz="2000" dirty="0"/>
              <a:t>a las embarazadas y a los recién nacidos.</a:t>
            </a:r>
          </a:p>
          <a:p>
            <a:pPr fontAlgn="base">
              <a:buClr>
                <a:srgbClr val="FF6600"/>
              </a:buClr>
              <a:buFont typeface="Wingdings" charset="2"/>
              <a:buChar char="Ø"/>
            </a:pPr>
            <a:r>
              <a:rPr lang="es-ES" sz="2000" dirty="0"/>
              <a:t>La mortalidad materna mundial se ha reducido en casi la mitad entre 1990 y 2013.</a:t>
            </a:r>
            <a:endParaRPr lang="es-ES" sz="2000" dirty="0" smtClean="0"/>
          </a:p>
          <a:p>
            <a:pPr fontAlgn="base"/>
            <a:endParaRPr lang="es-ES" sz="2000" dirty="0" smtClean="0"/>
          </a:p>
          <a:p>
            <a:endParaRPr lang="en-US" sz="2000" dirty="0"/>
          </a:p>
        </p:txBody>
      </p:sp>
      <p:sp>
        <p:nvSpPr>
          <p:cNvPr id="4" name="Rectángulo 3"/>
          <p:cNvSpPr/>
          <p:nvPr/>
        </p:nvSpPr>
        <p:spPr>
          <a:xfrm>
            <a:off x="1143000" y="6172200"/>
            <a:ext cx="75438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s-ES" sz="1600" dirty="0" smtClean="0"/>
              <a:t>Organización Mundial de la Salud : Nota descriptiva N°348; Mayo de 2014</a:t>
            </a:r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4259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1143000"/>
          </a:xfrm>
        </p:spPr>
        <p:txBody>
          <a:bodyPr>
            <a:normAutofit/>
          </a:bodyPr>
          <a:lstStyle/>
          <a:p>
            <a:r>
              <a:rPr lang="es-MX" sz="4000" dirty="0" smtClean="0">
                <a:solidFill>
                  <a:srgbClr val="CC0000"/>
                </a:solidFill>
              </a:rPr>
              <a:t>Objetivo de Desarrollo del Milenio </a:t>
            </a:r>
            <a:endParaRPr lang="en-US" sz="4000" dirty="0">
              <a:solidFill>
                <a:srgbClr val="CC0000"/>
              </a:solidFill>
            </a:endParaRPr>
          </a:p>
        </p:txBody>
      </p:sp>
      <p:sp>
        <p:nvSpPr>
          <p:cNvPr id="4" name="Marcador de contenido 2"/>
          <p:cNvSpPr>
            <a:spLocks noGrp="1"/>
          </p:cNvSpPr>
          <p:nvPr>
            <p:ph idx="1"/>
          </p:nvPr>
        </p:nvSpPr>
        <p:spPr>
          <a:xfrm>
            <a:off x="522906" y="1844824"/>
            <a:ext cx="8229600" cy="4525963"/>
          </a:xfrm>
        </p:spPr>
        <p:txBody>
          <a:bodyPr>
            <a:normAutofit fontScale="92500"/>
          </a:bodyPr>
          <a:lstStyle/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Erradicar la pobreza extrema y el hambre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Lograr la enseñanza primaria universal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Promover la igualdad de género y el empoderamiento de las mujeres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Reducir la mortalidad de los menores de cinco años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jorar la salud materna </a:t>
            </a:r>
            <a:r>
              <a:rPr lang="es-ES" altLang="es-MX" sz="3000" dirty="0" smtClean="0">
                <a:solidFill>
                  <a:srgbClr val="CC0000"/>
                </a:solidFill>
              </a:rPr>
              <a:t>(ODM 5)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Combatir el VIH/SIDA, el paludismo y otras enfermedades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Garantizar la sustentabilidad del medio ambiente</a:t>
            </a:r>
          </a:p>
          <a:p>
            <a:pPr marL="514350" indent="-514350" eaLnBrk="1" hangingPunct="1">
              <a:lnSpc>
                <a:spcPct val="80000"/>
              </a:lnSpc>
              <a:buFont typeface="Calibri" pitchFamily="34" charset="0"/>
              <a:buAutoNum type="arabicPeriod"/>
            </a:pPr>
            <a:r>
              <a:rPr lang="es-ES" altLang="es-MX" sz="3000" dirty="0" smtClean="0"/>
              <a:t>Fomentar una alianza mundial para el desarrollo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7579208" y="116632"/>
            <a:ext cx="120700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7538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29600" cy="1143000"/>
          </a:xfrm>
        </p:spPr>
        <p:txBody>
          <a:bodyPr>
            <a:normAutofit/>
          </a:bodyPr>
          <a:lstStyle/>
          <a:p>
            <a:r>
              <a:rPr lang="es-MX" sz="4000" dirty="0" smtClean="0">
                <a:solidFill>
                  <a:srgbClr val="CC0000"/>
                </a:solidFill>
              </a:rPr>
              <a:t>Objetivo de Desarrollo del Milenio </a:t>
            </a:r>
            <a:endParaRPr lang="en-US" sz="4000" dirty="0">
              <a:solidFill>
                <a:srgbClr val="CC0000"/>
              </a:solidFill>
            </a:endParaRPr>
          </a:p>
        </p:txBody>
      </p:sp>
      <p:sp>
        <p:nvSpPr>
          <p:cNvPr id="4" name="Marcador de contenido 2"/>
          <p:cNvSpPr>
            <a:spLocks noGrp="1"/>
          </p:cNvSpPr>
          <p:nvPr>
            <p:ph idx="1"/>
          </p:nvPr>
        </p:nvSpPr>
        <p:spPr>
          <a:xfrm>
            <a:off x="522906" y="1844824"/>
            <a:ext cx="8229600" cy="4525963"/>
          </a:xfrm>
        </p:spPr>
        <p:txBody>
          <a:bodyPr>
            <a:normAutofit fontScale="85000" lnSpcReduction="10000"/>
          </a:bodyPr>
          <a:lstStyle/>
          <a:p>
            <a:pPr marL="0" indent="0" algn="ctr" eaLnBrk="1" hangingPunct="1">
              <a:lnSpc>
                <a:spcPct val="80000"/>
              </a:lnSpc>
              <a:buNone/>
            </a:pPr>
            <a:r>
              <a:rPr lang="es-ES" altLang="es-MX" sz="3000" dirty="0" smtClean="0">
                <a:solidFill>
                  <a:srgbClr val="CC0000"/>
                </a:solidFill>
              </a:rPr>
              <a:t>Mejorar la salud materna (ODM 5)</a:t>
            </a:r>
          </a:p>
          <a:p>
            <a:pPr marL="0" indent="0" fontAlgn="base">
              <a:buNone/>
            </a:pPr>
            <a:r>
              <a:rPr lang="es-ES" sz="2800" dirty="0" smtClean="0"/>
              <a:t>* Los </a:t>
            </a:r>
            <a:r>
              <a:rPr lang="es-ES" sz="2800" dirty="0"/>
              <a:t>países se comprometieron a reducir la mortalidad materna en un 75% entre 1990 y 2015. </a:t>
            </a:r>
          </a:p>
          <a:p>
            <a:pPr marL="0" indent="0" fontAlgn="base">
              <a:buNone/>
            </a:pPr>
            <a:r>
              <a:rPr lang="es-ES" sz="2800" dirty="0"/>
              <a:t>     Desde 1990, la mortalidad materna ha disminuido</a:t>
            </a:r>
            <a:r>
              <a:rPr lang="es-ES" sz="2800" dirty="0" smtClean="0"/>
              <a:t> en </a:t>
            </a:r>
            <a:r>
              <a:rPr lang="es-ES" sz="2800" dirty="0"/>
              <a:t>un 45</a:t>
            </a:r>
            <a:r>
              <a:rPr lang="es-ES" sz="2800" dirty="0" smtClean="0"/>
              <a:t>%.</a:t>
            </a:r>
          </a:p>
          <a:p>
            <a:pPr marL="0" indent="0" fontAlgn="base">
              <a:buNone/>
            </a:pPr>
            <a:endParaRPr lang="es-ES" sz="2800" dirty="0"/>
          </a:p>
          <a:p>
            <a:pPr marL="0" indent="0">
              <a:lnSpc>
                <a:spcPct val="160000"/>
              </a:lnSpc>
              <a:buNone/>
            </a:pPr>
            <a:r>
              <a:rPr lang="es-ES" sz="2800" dirty="0" smtClean="0"/>
              <a:t>*  Entre </a:t>
            </a:r>
            <a:r>
              <a:rPr lang="es-ES" sz="2800" dirty="0"/>
              <a:t>1990 y 2013 la razón de mortalidad materna mundial </a:t>
            </a:r>
            <a:r>
              <a:rPr lang="es-ES" sz="2800" dirty="0" smtClean="0"/>
              <a:t>(el </a:t>
            </a:r>
            <a:r>
              <a:rPr lang="es-ES" sz="2800" dirty="0"/>
              <a:t>número de muertes maternas por 100 000 nacidos vivos) solo ha disminuido en un </a:t>
            </a:r>
            <a:r>
              <a:rPr lang="es-ES" sz="28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,6% al año</a:t>
            </a:r>
            <a:r>
              <a:rPr lang="es-ES" sz="2800" dirty="0"/>
              <a:t>, cifra que está lejos de la reducción del 5,5% anual necesaria para alcanzar el ODM5.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es-ES" altLang="es-MX" sz="3000" dirty="0" smtClean="0">
              <a:solidFill>
                <a:srgbClr val="CC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7579208" y="116632"/>
            <a:ext cx="120700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3714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dirty="0" err="1" smtClean="0"/>
              <a:t>Raz</a:t>
            </a:r>
            <a:r>
              <a:rPr lang="en-US" sz="4000" dirty="0" err="1" smtClean="0"/>
              <a:t>ó</a:t>
            </a:r>
            <a:r>
              <a:rPr lang="en-US" sz="4000" dirty="0" err="1" smtClean="0"/>
              <a:t>n</a:t>
            </a:r>
            <a:r>
              <a:rPr lang="en-US" sz="4000" dirty="0" smtClean="0"/>
              <a:t> de MM SS </a:t>
            </a:r>
            <a:r>
              <a:rPr lang="en-US" sz="4000" dirty="0" err="1" smtClean="0"/>
              <a:t>y</a:t>
            </a:r>
            <a:r>
              <a:rPr lang="en-US" sz="4000" dirty="0" smtClean="0"/>
              <a:t> </a:t>
            </a:r>
            <a:r>
              <a:rPr lang="en-US" sz="4000" dirty="0" err="1" smtClean="0"/>
              <a:t>Metas</a:t>
            </a:r>
            <a:r>
              <a:rPr lang="en-US" sz="4000" dirty="0" smtClean="0"/>
              <a:t> 2015</a:t>
            </a:r>
            <a:endParaRPr lang="en-US" sz="4000" dirty="0"/>
          </a:p>
        </p:txBody>
      </p:sp>
      <p:pic>
        <p:nvPicPr>
          <p:cNvPr id="4" name="Marcador de contenido 3" descr="Captura de pantalla 2015-08-26 a la(s) 17.26.02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85800" y="1752600"/>
            <a:ext cx="7478238" cy="4678363"/>
          </a:xfr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0175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 descr="Captura de pantalla 2015-08-25 a la(s) 21.21.37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860032" y="1075591"/>
            <a:ext cx="3384376" cy="2497425"/>
          </a:xfrm>
        </p:spPr>
      </p:pic>
      <p:pic>
        <p:nvPicPr>
          <p:cNvPr id="5" name="Imagen 4" descr="Captura de pantalla 2015-08-25 a la(s) 21.24.1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5776" y="3573016"/>
            <a:ext cx="3747864" cy="3070474"/>
          </a:xfrm>
          <a:prstGeom prst="rect">
            <a:avLst/>
          </a:prstGeom>
        </p:spPr>
      </p:pic>
      <p:pic>
        <p:nvPicPr>
          <p:cNvPr id="6" name="Imagen 5" descr="Captura de pantalla 2015-08-25 a la(s) 22.31.04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752" y="980728"/>
            <a:ext cx="3581400" cy="259228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943204" y="476672"/>
            <a:ext cx="1521570" cy="3693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MX" dirty="0" smtClean="0"/>
              <a:t>Nacional : 415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059832" y="476672"/>
            <a:ext cx="1521570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MX" dirty="0" smtClean="0"/>
              <a:t>Nacional : 53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156176" y="3861048"/>
            <a:ext cx="1521570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s-MX" dirty="0" smtClean="0"/>
              <a:t>Nacional : 893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798666" y="6402814"/>
            <a:ext cx="33098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dirty="0" smtClean="0"/>
              <a:t>Boletín de Epidemiología SS, 2015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836712"/>
            <a:ext cx="8229600" cy="1143000"/>
          </a:xfrm>
        </p:spPr>
        <p:txBody>
          <a:bodyPr>
            <a:normAutofit/>
          </a:bodyPr>
          <a:lstStyle/>
          <a:p>
            <a:r>
              <a:rPr lang="es-MX" sz="3600" dirty="0" smtClean="0">
                <a:solidFill>
                  <a:srgbClr val="CC0000"/>
                </a:solidFill>
              </a:rPr>
              <a:t>¿Qué diferencia a los países en vía Raída?</a:t>
            </a:r>
            <a:endParaRPr lang="en-US" sz="3600" dirty="0">
              <a:solidFill>
                <a:srgbClr val="CC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916832"/>
            <a:ext cx="8229600" cy="452596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ES" dirty="0" smtClean="0"/>
              <a:t>Los países que superaron </a:t>
            </a:r>
            <a:r>
              <a:rPr lang="es-ES" dirty="0"/>
              <a:t>significativamente a los </a:t>
            </a:r>
            <a:r>
              <a:rPr lang="es-ES" dirty="0" smtClean="0"/>
              <a:t> demás </a:t>
            </a:r>
            <a:r>
              <a:rPr lang="es-ES" dirty="0"/>
              <a:t>países de bajos y medianos ingresos en tres áreas: </a:t>
            </a:r>
          </a:p>
          <a:p>
            <a:pPr>
              <a:buClr>
                <a:srgbClr val="FF6600"/>
              </a:buClr>
              <a:buFont typeface="Wingdings" panose="05000000000000000000" pitchFamily="2" charset="2"/>
              <a:buChar char="ü"/>
            </a:pPr>
            <a:r>
              <a:rPr lang="es-ES" dirty="0"/>
              <a:t> </a:t>
            </a:r>
            <a:r>
              <a:rPr lang="es-ES" dirty="0" smtClean="0"/>
              <a:t>Progreso </a:t>
            </a:r>
            <a:r>
              <a:rPr lang="es-ES" dirty="0"/>
              <a:t>multisectorial para mejorar los </a:t>
            </a:r>
            <a:r>
              <a:rPr lang="es-ES" dirty="0" smtClean="0"/>
              <a:t> determinantes </a:t>
            </a:r>
            <a:r>
              <a:rPr lang="es-ES" dirty="0"/>
              <a:t>de la salud </a:t>
            </a:r>
          </a:p>
          <a:p>
            <a:pPr>
              <a:buClr>
                <a:srgbClr val="FF6600"/>
              </a:buClr>
              <a:buFont typeface="Wingdings" panose="05000000000000000000" pitchFamily="2" charset="2"/>
              <a:buChar char="ü"/>
            </a:pPr>
            <a:r>
              <a:rPr lang="es-ES" dirty="0" smtClean="0"/>
              <a:t> Optimización </a:t>
            </a:r>
            <a:r>
              <a:rPr lang="es-ES" dirty="0"/>
              <a:t>de estrategias para maximizar los resultados de salud </a:t>
            </a:r>
          </a:p>
          <a:p>
            <a:pPr>
              <a:buClr>
                <a:srgbClr val="FF6600"/>
              </a:buClr>
              <a:buFont typeface="Wingdings" panose="05000000000000000000" pitchFamily="2" charset="2"/>
              <a:buChar char="ü"/>
            </a:pPr>
            <a:r>
              <a:rPr lang="es-ES" dirty="0"/>
              <a:t> </a:t>
            </a:r>
            <a:r>
              <a:rPr lang="es-ES" dirty="0" smtClean="0"/>
              <a:t>Principios </a:t>
            </a:r>
            <a:r>
              <a:rPr lang="es-ES" dirty="0"/>
              <a:t>para orientar las políticas y programas 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55050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764704"/>
            <a:ext cx="8229600" cy="1143000"/>
          </a:xfrm>
        </p:spPr>
        <p:txBody>
          <a:bodyPr>
            <a:normAutofit/>
          </a:bodyPr>
          <a:lstStyle/>
          <a:p>
            <a:r>
              <a:rPr lang="es-MX" sz="3600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usas de Muerte Materna</a:t>
            </a:r>
            <a:endParaRPr lang="en-US" sz="3600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988840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marL="0" indent="0" fontAlgn="base">
              <a:buNone/>
            </a:pPr>
            <a:r>
              <a:rPr lang="es-ES" dirty="0" smtClean="0"/>
              <a:t>Muchas </a:t>
            </a:r>
            <a:r>
              <a:rPr lang="es-ES" dirty="0"/>
              <a:t>mujeres mueren de complicaciones que se producen durante el embarazo y el parto o después de ellos. </a:t>
            </a:r>
            <a:endParaRPr lang="es-ES" dirty="0" smtClean="0"/>
          </a:p>
          <a:p>
            <a:pPr marL="0" indent="0" fontAlgn="base">
              <a:buNone/>
            </a:pPr>
            <a:r>
              <a:rPr lang="es-ES" dirty="0" smtClean="0"/>
              <a:t>Las </a:t>
            </a:r>
            <a:r>
              <a:rPr lang="es-ES" dirty="0"/>
              <a:t>principales complicaciones, </a:t>
            </a:r>
            <a:r>
              <a:rPr lang="es-ES" b="1" dirty="0"/>
              <a:t>causantes del 80% de las muertes </a:t>
            </a:r>
            <a:r>
              <a:rPr lang="es-ES" dirty="0"/>
              <a:t>maternas, son:</a:t>
            </a:r>
          </a:p>
          <a:p>
            <a:pPr fontAlgn="base"/>
            <a:r>
              <a:rPr lang="es-ES" dirty="0"/>
              <a:t>las hemorragias graves (en su mayoría tras el parto)</a:t>
            </a:r>
          </a:p>
          <a:p>
            <a:pPr fontAlgn="base"/>
            <a:r>
              <a:rPr lang="es-ES" dirty="0"/>
              <a:t>las infecciones (generalmente tras el parto)</a:t>
            </a:r>
          </a:p>
          <a:p>
            <a:pPr fontAlgn="base"/>
            <a:r>
              <a:rPr lang="es-ES" dirty="0"/>
              <a:t>la hipertensión gestacional (</a:t>
            </a:r>
            <a:r>
              <a:rPr lang="es-ES" dirty="0" err="1"/>
              <a:t>preeclampsia</a:t>
            </a:r>
            <a:r>
              <a:rPr lang="es-ES" dirty="0"/>
              <a:t> y eclampsia)</a:t>
            </a:r>
          </a:p>
          <a:p>
            <a:pPr fontAlgn="base"/>
            <a:r>
              <a:rPr lang="es-ES" dirty="0"/>
              <a:t>los abortos </a:t>
            </a:r>
            <a:r>
              <a:rPr lang="es-ES" dirty="0" smtClean="0"/>
              <a:t>peligrosos</a:t>
            </a:r>
            <a:endParaRPr lang="es-ES" dirty="0"/>
          </a:p>
          <a:p>
            <a:pPr fontAlgn="base"/>
            <a:r>
              <a:rPr lang="es-ES" dirty="0"/>
              <a:t>Las demás son </a:t>
            </a:r>
            <a:r>
              <a:rPr lang="es-ES" dirty="0" smtClean="0"/>
              <a:t>asociadas </a:t>
            </a:r>
            <a:r>
              <a:rPr lang="es-ES" dirty="0"/>
              <a:t>a enfermedades como el paludismo, o la infección por VIH en el embarazo</a:t>
            </a:r>
            <a:r>
              <a:rPr lang="es-ES" dirty="0" smtClean="0"/>
              <a:t>.</a:t>
            </a:r>
          </a:p>
          <a:p>
            <a:pPr marL="0" indent="0" fontAlgn="base">
              <a:buNone/>
            </a:pPr>
            <a:endParaRPr lang="es-ES" dirty="0"/>
          </a:p>
          <a:p>
            <a:pPr fontAlgn="base"/>
            <a:r>
              <a:rPr lang="es-ES" dirty="0"/>
              <a:t>La salud materna y del recién nacido están íntimamente relacionadas. Cada año mueren cerca de 3 millones de recién nacidos, y otros 2,6 millones mueren antes de nace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46775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VARPPTCOMPATIBLERD03" val="RXP"/>
  <p:tag name="VARPPTTYPE" val="RXP"/>
  <p:tag name="VARPPTSLIDEFORMAT" val="RXP"/>
  <p:tag name="VARPPTCOMPATIBLE4" val="RXP"/>
  <p:tag name="VARSAVEMESSAGETIMESTAMP" val="RXP26/08/2015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  <p:tag name="THINKCELLSHAPEDONOTDELETE" val="pAgtiyHxfBU6eIfGgo0al9g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F2k8HECBUGjxmFDoKawZA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96_YUw689kaSkgTnWsZ0VA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Maqrrh6G0eTaFxBWK9B4w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8DBsN49R4UWXaaIIftqeow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Jn2UyFKLkGEBhjHjnjciQ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Hv9JkdswkiXccVzV38W9Q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QESoYqe90CruQNoeFxlZA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  <p:tag name="THINKCELLSHAPEDONOTDELETE" val="pAgtiyHxfBU6eIfGgo0al9g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F2k8HECBUGjxmFDoKawZA"/>
</p:tagLst>
</file>

<file path=ppt/tags/tag2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96_YUw689kaSkgTnWsZ0VA"/>
</p:tagLst>
</file>

<file path=ppt/tags/tag2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Maqrrh6G0eTaFxBWK9B4w"/>
</p:tagLst>
</file>

<file path=ppt/tags/tag2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8DBsN49R4UWXaaIIftqeow"/>
</p:tagLst>
</file>

<file path=ppt/tags/tag2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Jn2UyFKLkGEBhjHjnjciQ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F2k8HECBUGjxmFDoKawZA"/>
</p:tagLst>
</file>

<file path=ppt/tags/tag3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Hv9JkdswkiXccVzV38W9Q"/>
</p:tagLst>
</file>

<file path=ppt/tags/tag3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QESoYqe90CruQNoeFxlZA"/>
</p:tagLst>
</file>

<file path=ppt/tags/tag3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  <p:tag name="THINKCELLSHAPEDONOTDELETE" val="pAgtiyHxfBU6eIfGgo0al9g"/>
</p:tagLst>
</file>

<file path=ppt/tags/tag3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96_YUw689kaSkgTnWsZ0VA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Maqrrh6G0eTaFxBWK9B4w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8DBsN49R4UWXaaIIftqeow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Jn2UyFKLkGEBhjHjnjciQ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Hv9JkdswkiXccVzV38W9Q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QESoYqe90CruQNoeFxlZA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Spanish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Spanish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Firm Format - Spanish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Firm Format - Spanish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48</TotalTime>
  <Words>1547</Words>
  <Application>Microsoft Office PowerPoint</Application>
  <PresentationFormat>Presentación en pantalla (4:3)</PresentationFormat>
  <Paragraphs>146</Paragraphs>
  <Slides>17</Slides>
  <Notes>13</Notes>
  <HiddenSlides>0</HiddenSlides>
  <MMClips>0</MMClips>
  <ScaleCrop>false</ScaleCrop>
  <HeadingPairs>
    <vt:vector size="6" baseType="variant">
      <vt:variant>
        <vt:lpstr>Plantilla de diseño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6" baseType="lpstr">
      <vt:lpstr>Blank</vt:lpstr>
      <vt:lpstr>1_Blank</vt:lpstr>
      <vt:lpstr>Firm Format - Spanish</vt:lpstr>
      <vt:lpstr>1_Firm Format - Spanish</vt:lpstr>
      <vt:lpstr>2_Blank</vt:lpstr>
      <vt:lpstr>2_Firm Format - Spanish</vt:lpstr>
      <vt:lpstr>3_Firm Format - Spanish</vt:lpstr>
      <vt:lpstr>Tema de Office</vt:lpstr>
      <vt:lpstr>think-cell Slide</vt:lpstr>
      <vt:lpstr>La prevención como línea general  prioritaria en la  Mortalidad Materna</vt:lpstr>
      <vt:lpstr>Diapositiva 2</vt:lpstr>
      <vt:lpstr>MORTALIDAD MATERNA (OMS)</vt:lpstr>
      <vt:lpstr>Objetivo de Desarrollo del Milenio </vt:lpstr>
      <vt:lpstr>Objetivo de Desarrollo del Milenio </vt:lpstr>
      <vt:lpstr>Razón de MM SS y Metas 2015</vt:lpstr>
      <vt:lpstr>Diapositiva 7</vt:lpstr>
      <vt:lpstr>¿Qué diferencia a los países en vía Raída?</vt:lpstr>
      <vt:lpstr>Causas de Muerte Materna</vt:lpstr>
      <vt:lpstr>Estrategias para disminuir la Mortalidad Materna </vt:lpstr>
      <vt:lpstr>Reducción de la Mortalidad Materna</vt:lpstr>
      <vt:lpstr>Pasos para disminuir la Mortalidada Materna </vt:lpstr>
      <vt:lpstr>Control Prenatal Oportuno y Suficiente</vt:lpstr>
      <vt:lpstr>Ruta crítica para la vigilancia del embarazo</vt:lpstr>
      <vt:lpstr>Diapositiva 15</vt:lpstr>
      <vt:lpstr>Diapositiva 16</vt:lpstr>
      <vt:lpstr>Diapositiva 17</vt:lpstr>
    </vt:vector>
  </TitlesOfParts>
  <Company>Emory Universit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murgui</dc:creator>
  <cp:lastModifiedBy>Lety</cp:lastModifiedBy>
  <cp:revision>294</cp:revision>
  <cp:lastPrinted>2015-08-26T21:27:10Z</cp:lastPrinted>
  <dcterms:created xsi:type="dcterms:W3CDTF">2015-08-26T22:21:27Z</dcterms:created>
  <dcterms:modified xsi:type="dcterms:W3CDTF">2015-08-26T22:52:52Z</dcterms:modified>
</cp:coreProperties>
</file>